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4.xml" ContentType="application/vnd.openxmlformats-officedocument.presentationml.slideLayout+xml"/>
  <Override PartName="/ppt/theme/theme6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7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0" r:id="rId2"/>
    <p:sldMasterId id="2147483673" r:id="rId3"/>
    <p:sldMasterId id="2147483676" r:id="rId4"/>
    <p:sldMasterId id="2147483679" r:id="rId5"/>
    <p:sldMasterId id="2147483688" r:id="rId6"/>
    <p:sldMasterId id="2147483691" r:id="rId7"/>
    <p:sldMasterId id="2147483708" r:id="rId8"/>
    <p:sldMasterId id="2147483726" r:id="rId9"/>
  </p:sldMasterIdLst>
  <p:notesMasterIdLst>
    <p:notesMasterId r:id="rId52"/>
  </p:notesMasterIdLst>
  <p:sldIdLst>
    <p:sldId id="17151" r:id="rId10"/>
    <p:sldId id="295" r:id="rId11"/>
    <p:sldId id="296" r:id="rId12"/>
    <p:sldId id="272" r:id="rId13"/>
    <p:sldId id="1348" r:id="rId14"/>
    <p:sldId id="1349" r:id="rId15"/>
    <p:sldId id="1351" r:id="rId16"/>
    <p:sldId id="276" r:id="rId17"/>
    <p:sldId id="1260" r:id="rId18"/>
    <p:sldId id="561" r:id="rId19"/>
    <p:sldId id="562" r:id="rId20"/>
    <p:sldId id="1264" r:id="rId21"/>
    <p:sldId id="1295" r:id="rId22"/>
    <p:sldId id="1266" r:id="rId23"/>
    <p:sldId id="281" r:id="rId24"/>
    <p:sldId id="1352" r:id="rId25"/>
    <p:sldId id="984" r:id="rId26"/>
    <p:sldId id="1294" r:id="rId27"/>
    <p:sldId id="563" r:id="rId28"/>
    <p:sldId id="566" r:id="rId29"/>
    <p:sldId id="567" r:id="rId30"/>
    <p:sldId id="1296" r:id="rId31"/>
    <p:sldId id="1297" r:id="rId32"/>
    <p:sldId id="1298" r:id="rId33"/>
    <p:sldId id="1299" r:id="rId34"/>
    <p:sldId id="1300" r:id="rId35"/>
    <p:sldId id="1274" r:id="rId36"/>
    <p:sldId id="540" r:id="rId37"/>
    <p:sldId id="542" r:id="rId38"/>
    <p:sldId id="543" r:id="rId39"/>
    <p:sldId id="544" r:id="rId40"/>
    <p:sldId id="780" r:id="rId41"/>
    <p:sldId id="781" r:id="rId42"/>
    <p:sldId id="782" r:id="rId43"/>
    <p:sldId id="549" r:id="rId44"/>
    <p:sldId id="17149" r:id="rId45"/>
    <p:sldId id="550" r:id="rId46"/>
    <p:sldId id="552" r:id="rId47"/>
    <p:sldId id="553" r:id="rId48"/>
    <p:sldId id="554" r:id="rId49"/>
    <p:sldId id="555" r:id="rId50"/>
    <p:sldId id="986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A34AC84-6D01-4448-A5A4-A46464A35886}">
          <p14:sldIdLst>
            <p14:sldId id="17151"/>
            <p14:sldId id="295"/>
            <p14:sldId id="296"/>
            <p14:sldId id="272"/>
            <p14:sldId id="1348"/>
            <p14:sldId id="1349"/>
            <p14:sldId id="1351"/>
            <p14:sldId id="276"/>
            <p14:sldId id="1260"/>
            <p14:sldId id="561"/>
            <p14:sldId id="562"/>
            <p14:sldId id="1264"/>
            <p14:sldId id="1295"/>
            <p14:sldId id="1266"/>
            <p14:sldId id="281"/>
            <p14:sldId id="1352"/>
            <p14:sldId id="984"/>
            <p14:sldId id="1294"/>
            <p14:sldId id="563"/>
            <p14:sldId id="566"/>
            <p14:sldId id="567"/>
            <p14:sldId id="1296"/>
            <p14:sldId id="1297"/>
            <p14:sldId id="1298"/>
            <p14:sldId id="1299"/>
            <p14:sldId id="1300"/>
            <p14:sldId id="1274"/>
          </p14:sldIdLst>
        </p14:section>
        <p14:section name="Раздел по умолчанию" id="{BCC12EB3-011A-43B7-AB97-EFD4637215AE}">
          <p14:sldIdLst>
            <p14:sldId id="540"/>
            <p14:sldId id="542"/>
            <p14:sldId id="543"/>
            <p14:sldId id="544"/>
            <p14:sldId id="780"/>
            <p14:sldId id="781"/>
            <p14:sldId id="782"/>
            <p14:sldId id="549"/>
            <p14:sldId id="17149"/>
            <p14:sldId id="550"/>
            <p14:sldId id="552"/>
            <p14:sldId id="553"/>
            <p14:sldId id="554"/>
            <p14:sldId id="555"/>
            <p14:sldId id="98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9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558"/>
  </p:normalViewPr>
  <p:slideViewPr>
    <p:cSldViewPr snapToGrid="0" snapToObjects="1">
      <p:cViewPr varScale="1">
        <p:scale>
          <a:sx n="64" d="100"/>
          <a:sy n="64" d="100"/>
        </p:scale>
        <p:origin x="74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CD50D-2A1D-2449-9DBE-D050EC7DC37C}" type="datetimeFigureOut">
              <a:rPr lang="en-US" smtClean="0"/>
              <a:t>10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D8B280-315D-D24B-A20C-3E48796FAB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321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603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3488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16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0678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683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98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771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587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2595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5047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883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lvl="0"/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32" dirty="0" err="1">
              <a:solidFill>
                <a:schemeClr val="tx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8493" y="3784238"/>
            <a:ext cx="11678977" cy="28899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17162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817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8847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7561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65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47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599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6041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848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681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402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7" eaLnBrk="1" hangingPunct="1">
              <a:defRPr/>
            </a:pPr>
            <a:endParaRPr lang="ru-RU" sz="816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endParaRPr lang="ru-RU" sz="1632" dirty="0" err="1">
              <a:solidFill>
                <a:prstClr val="black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179295" y="3884137"/>
            <a:ext cx="11708175" cy="27900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736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471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111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02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8BD707-D9CF-40AE-B4C6-C98DA3205C09}" type="datetimeFigureOut">
              <a:rPr lang="en-US" smtClean="0"/>
              <a:pPr/>
              <a:t>10/7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RU" smtClean="0"/>
              <a:pPr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57549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933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7725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27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16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560575" y="0"/>
            <a:ext cx="10628376" cy="16916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04443" y="257555"/>
            <a:ext cx="10783112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96450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6964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459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213670A6-12D8-E047-BDFE-50054B487820}"/>
              </a:ext>
            </a:extLst>
          </p:cNvPr>
          <p:cNvSpPr/>
          <p:nvPr userDrawn="1"/>
        </p:nvSpPr>
        <p:spPr>
          <a:xfrm>
            <a:off x="5618214" y="1143000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558" y="911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026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156AC3C8-734E-4045-B89A-44760BA4F8C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EFE457F0-9EC1-B648-98E2-A72A597FE8E2}"/>
              </a:ext>
            </a:extLst>
          </p:cNvPr>
          <p:cNvSpPr/>
          <p:nvPr userDrawn="1"/>
        </p:nvSpPr>
        <p:spPr>
          <a:xfrm>
            <a:off x="1930400" y="812618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758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8107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76E93F-3847-BD47-9709-0A15A1766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795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98834D-82AD-7448-B364-0B385967E1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3620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16550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2129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 b="-2222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218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 rot="10800000">
            <a:off x="0" y="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88616B5-D785-FC4C-95DF-D9C31A7142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81" t="33333" r="20791" b="33333"/>
          <a:stretch/>
        </p:blipFill>
        <p:spPr>
          <a:xfrm>
            <a:off x="685800" y="685800"/>
            <a:ext cx="1676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15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422656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65174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1950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209F203A-D972-6A44-B462-788739BB69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C0EF28-9E55-3144-9234-57C2B61DD2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8657E6F-767D-6E49-83FD-BB4CBA2E5E4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981B4B-4B82-6C49-AC8F-9309986E8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4493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485805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8280FC4-AD29-EF48-9BC4-21105D6B2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B9857-F13C-C847-9AA5-12EF95C8C5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7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1504380-7C72-F148-9391-780956D65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4DED942-AC15-244D-B182-8AF2D44FB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44" t="29959" r="23998" b="14575"/>
          <a:stretch/>
        </p:blipFill>
        <p:spPr>
          <a:xfrm rot="427144" flipH="1">
            <a:off x="525582" y="-542919"/>
            <a:ext cx="12670191" cy="846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111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17445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b="0" i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pPr/>
              <a:t>‹#›</a:t>
            </a:fld>
            <a:endParaRPr lang="ru-RU" b="0" i="0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B19BE-EBCE-3D42-A5F8-C409CB4A3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568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92800" y="0"/>
            <a:ext cx="6299200" cy="6858000"/>
          </a:xfrm>
          <a:prstGeom prst="rect">
            <a:avLst/>
          </a:prstGeom>
        </p:spPr>
        <p:txBody>
          <a:bodyPr vert="horz"/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11563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0673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70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554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766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168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6" r:id="rId2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16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7153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458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fld id="{41313719-8C68-A548-A392-62A6EB106E00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hangingPunct="1"/>
              <a:t>‹#›</a:t>
            </a:fld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60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2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977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5" r:id="rId13"/>
    <p:sldLayoutId id="2147483721" r:id="rId14"/>
    <p:sldLayoutId id="2147483722" r:id="rId15"/>
    <p:sldLayoutId id="2147483723" r:id="rId16"/>
    <p:sldLayoutId id="2147483724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7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287FEEEE-477F-524E-8627-A9C3E1E05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670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9206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8" r:id="rId17"/>
  </p:sldLayoutIdLst>
  <p:txStyles>
    <p:titleStyle>
      <a:lvl1pPr eaLnBrk="1" hangingPunct="1">
        <a:defRPr sz="6000" b="0" i="0">
          <a:latin typeface="SB Sans Display Light" panose="020B0303040504020204" pitchFamily="34" charset="0"/>
          <a:ea typeface="+mj-ea"/>
          <a:cs typeface="SB Sans Display Light" panose="020B0303040504020204" pitchFamily="34" charset="0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8">
          <p15:clr>
            <a:srgbClr val="F26B43"/>
          </p15:clr>
        </p15:guide>
        <p15:guide id="3" pos="432">
          <p15:clr>
            <a:srgbClr val="F26B43"/>
          </p15:clr>
        </p15:guide>
        <p15:guide id="4" pos="1104">
          <p15:clr>
            <a:srgbClr val="F26B43"/>
          </p15:clr>
        </p15:guide>
        <p15:guide id="5" pos="657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3888">
          <p15:clr>
            <a:srgbClr val="F26B43"/>
          </p15:clr>
        </p15:guide>
        <p15:guide id="9" orient="horz" pos="3504">
          <p15:clr>
            <a:srgbClr val="F26B43"/>
          </p15:clr>
        </p15:guide>
        <p15:guide id="10" orient="horz" pos="816">
          <p15:clr>
            <a:srgbClr val="F26B43"/>
          </p15:clr>
        </p15:guide>
        <p15:guide id="11" orient="horz" pos="2640">
          <p15:clr>
            <a:srgbClr val="F26B43"/>
          </p15:clr>
        </p15:guide>
        <p15:guide id="12" orient="horz" pos="1680">
          <p15:clr>
            <a:srgbClr val="F26B43"/>
          </p15:clr>
        </p15:guide>
        <p15:guide id="13" pos="2928">
          <p15:clr>
            <a:srgbClr val="F26B43"/>
          </p15:clr>
        </p15:guide>
        <p15:guide id="14" pos="4752">
          <p15:clr>
            <a:srgbClr val="F26B43"/>
          </p15:clr>
        </p15:guide>
        <p15:guide id="15" pos="2496">
          <p15:clr>
            <a:srgbClr val="F26B43"/>
          </p15:clr>
        </p15:guide>
        <p15:guide id="16" pos="5184">
          <p15:clr>
            <a:srgbClr val="F26B43"/>
          </p15:clr>
        </p15:guide>
        <p15:guide id="17" pos="2016">
          <p15:clr>
            <a:srgbClr val="F26B43"/>
          </p15:clr>
        </p15:guide>
        <p15:guide id="18" pos="56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1.png"/><Relationship Id="rId7" Type="http://schemas.openxmlformats.org/officeDocument/2006/relationships/image" Target="../media/image341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1.png"/><Relationship Id="rId11" Type="http://schemas.openxmlformats.org/officeDocument/2006/relationships/image" Target="../media/image380.png"/><Relationship Id="rId5" Type="http://schemas.openxmlformats.org/officeDocument/2006/relationships/image" Target="../media/image322.png"/><Relationship Id="rId10" Type="http://schemas.openxmlformats.org/officeDocument/2006/relationships/image" Target="../media/image370.png"/><Relationship Id="rId4" Type="http://schemas.openxmlformats.org/officeDocument/2006/relationships/image" Target="../media/image312.png"/><Relationship Id="rId9" Type="http://schemas.openxmlformats.org/officeDocument/2006/relationships/image" Target="../media/image36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0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0.png"/><Relationship Id="rId3" Type="http://schemas.openxmlformats.org/officeDocument/2006/relationships/image" Target="../media/image311.png"/><Relationship Id="rId7" Type="http://schemas.openxmlformats.org/officeDocument/2006/relationships/image" Target="../media/image330.png"/><Relationship Id="rId2" Type="http://schemas.openxmlformats.org/officeDocument/2006/relationships/image" Target="../media/image5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0.png"/><Relationship Id="rId5" Type="http://schemas.openxmlformats.org/officeDocument/2006/relationships/image" Target="../media/image310.png"/><Relationship Id="rId4" Type="http://schemas.openxmlformats.org/officeDocument/2006/relationships/image" Target="../media/image3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"/><Relationship Id="rId1" Type="http://schemas.openxmlformats.org/officeDocument/2006/relationships/slideLayout" Target="../slideLayouts/slideLayout5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0.png"/><Relationship Id="rId2" Type="http://schemas.openxmlformats.org/officeDocument/2006/relationships/image" Target="../media/image58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40.png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0.png"/><Relationship Id="rId2" Type="http://schemas.openxmlformats.org/officeDocument/2006/relationships/image" Target="../media/image58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40.png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image" Target="../media/image59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0.png"/><Relationship Id="rId5" Type="http://schemas.openxmlformats.org/officeDocument/2006/relationships/image" Target="../media/image740.png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image" Target="../media/image59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0.png"/><Relationship Id="rId5" Type="http://schemas.openxmlformats.org/officeDocument/2006/relationships/image" Target="../media/image74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hackernoon.com/life-is-gradient-descent-880c60ac1be8" TargetMode="External"/><Relationship Id="rId4" Type="http://schemas.openxmlformats.org/officeDocument/2006/relationships/image" Target="../media/image34.gi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hackernoon.com/life-is-gradient-descent-880c60ac1be8" TargetMode="External"/><Relationship Id="rId4" Type="http://schemas.openxmlformats.org/officeDocument/2006/relationships/image" Target="../media/image34.gif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03452CA-A194-43A7-8A5B-EA397BFDAEF3}"/>
              </a:ext>
            </a:extLst>
          </p:cNvPr>
          <p:cNvSpPr txBox="1"/>
          <p:nvPr/>
        </p:nvSpPr>
        <p:spPr>
          <a:xfrm>
            <a:off x="435614" y="766657"/>
            <a:ext cx="40303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>
                <a:solidFill>
                  <a:schemeClr val="accent1">
                    <a:lumMod val="75000"/>
                  </a:schemeClr>
                </a:solidFill>
                <a:latin typeface="+mj-lt"/>
              </a:rPr>
              <a:t>Науки о данных</a:t>
            </a:r>
            <a:r>
              <a:rPr lang="ru-RU" sz="36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. Лекция 2. Регресс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FD2E4-07BB-451F-AB81-D9D288920675}"/>
              </a:ext>
            </a:extLst>
          </p:cNvPr>
          <p:cNvSpPr txBox="1"/>
          <p:nvPr/>
        </p:nvSpPr>
        <p:spPr>
          <a:xfrm>
            <a:off x="461517" y="3886863"/>
            <a:ext cx="40044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Петр Паршаков</a:t>
            </a:r>
          </a:p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к.э.н.,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PhD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50076CD-6271-437A-9A6D-7AAB143CE76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15" y="6114518"/>
            <a:ext cx="4163224" cy="4937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639286B-44E6-D41B-8538-DF1E1ECE7C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631" y="0"/>
            <a:ext cx="7287904" cy="728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412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C5896F-9E5B-7842-8373-3635CE134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ъект </a:t>
            </a:r>
            <a:r>
              <a:rPr lang="ru-RU" dirty="0"/>
              <a:t>как строчка в таблице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E4E194F-95D9-BC49-8376-BFA9B12094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732114"/>
              </p:ext>
            </p:extLst>
          </p:nvPr>
        </p:nvGraphicFramePr>
        <p:xfrm>
          <a:off x="601133" y="2201993"/>
          <a:ext cx="10989733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200">
                  <a:extLst>
                    <a:ext uri="{9D8B030D-6E8A-4147-A177-3AD203B41FA5}">
                      <a16:colId xmlns:a16="http://schemas.microsoft.com/office/drawing/2014/main" val="4071554323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2599861594"/>
                    </a:ext>
                  </a:extLst>
                </a:gridCol>
                <a:gridCol w="2777067">
                  <a:extLst>
                    <a:ext uri="{9D8B030D-6E8A-4147-A177-3AD203B41FA5}">
                      <a16:colId xmlns:a16="http://schemas.microsoft.com/office/drawing/2014/main" val="3129107494"/>
                    </a:ext>
                  </a:extLst>
                </a:gridCol>
                <a:gridCol w="2760133">
                  <a:extLst>
                    <a:ext uri="{9D8B030D-6E8A-4147-A177-3AD203B41FA5}">
                      <a16:colId xmlns:a16="http://schemas.microsoft.com/office/drawing/2014/main" val="1183495281"/>
                    </a:ext>
                  </a:extLst>
                </a:gridCol>
                <a:gridCol w="2048933">
                  <a:extLst>
                    <a:ext uri="{9D8B030D-6E8A-4147-A177-3AD203B41FA5}">
                      <a16:colId xmlns:a16="http://schemas.microsoft.com/office/drawing/2014/main" val="2165167123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/>
                        <a:t>Номер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/>
                        <a:t>Площадь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Год постройки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/>
                        <a:t>Число комнат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Цена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810489858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4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199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700000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06392034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6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005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990000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15636286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5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01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50000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304387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250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(число комнат)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d>
                      <m:dPr>
                        <m:ctrlPr>
                          <a:rPr lang="ru-RU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число комнат</m:t>
                        </m:r>
                      </m:e>
                    </m:d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∗(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расстояние до метро)</m:t>
                    </m:r>
                  </m:oMath>
                </a14:m>
                <a:endParaRPr lang="ru-RU" dirty="0"/>
              </a:p>
              <a:p>
                <a:pPr marL="609585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F3A05F3F-69E9-CF40-B667-94BC9A7298E1}"/>
              </a:ext>
            </a:extLst>
          </p:cNvPr>
          <p:cNvSpPr/>
          <p:nvPr/>
        </p:nvSpPr>
        <p:spPr>
          <a:xfrm>
            <a:off x="1236134" y="2190997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C4E9A982-EE37-5242-AE47-DF538CC8B055}"/>
              </a:ext>
            </a:extLst>
          </p:cNvPr>
          <p:cNvSpPr/>
          <p:nvPr/>
        </p:nvSpPr>
        <p:spPr>
          <a:xfrm>
            <a:off x="1236134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" name="Alternate Process 6">
            <a:extLst>
              <a:ext uri="{FF2B5EF4-FFF2-40B4-BE49-F238E27FC236}">
                <a16:creationId xmlns:a16="http://schemas.microsoft.com/office/drawing/2014/main" id="{466BEC62-42B8-8B41-B897-8E573487FF4C}"/>
              </a:ext>
            </a:extLst>
          </p:cNvPr>
          <p:cNvSpPr/>
          <p:nvPr/>
        </p:nvSpPr>
        <p:spPr>
          <a:xfrm>
            <a:off x="4097867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8" name="Alternate Process 4">
            <a:extLst>
              <a:ext uri="{FF2B5EF4-FFF2-40B4-BE49-F238E27FC236}">
                <a16:creationId xmlns:a16="http://schemas.microsoft.com/office/drawing/2014/main" id="{86490842-F0DB-984C-912C-4C2951992FB4}"/>
              </a:ext>
            </a:extLst>
          </p:cNvPr>
          <p:cNvSpPr/>
          <p:nvPr/>
        </p:nvSpPr>
        <p:spPr>
          <a:xfrm>
            <a:off x="1236134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9" name="Alternate Process 6">
            <a:extLst>
              <a:ext uri="{FF2B5EF4-FFF2-40B4-BE49-F238E27FC236}">
                <a16:creationId xmlns:a16="http://schemas.microsoft.com/office/drawing/2014/main" id="{A3DE7AF7-ADEC-9D46-AE14-91876F9A108F}"/>
              </a:ext>
            </a:extLst>
          </p:cNvPr>
          <p:cNvSpPr/>
          <p:nvPr/>
        </p:nvSpPr>
        <p:spPr>
          <a:xfrm>
            <a:off x="4097867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0" name="Alternate Process 6">
            <a:extLst>
              <a:ext uri="{FF2B5EF4-FFF2-40B4-BE49-F238E27FC236}">
                <a16:creationId xmlns:a16="http://schemas.microsoft.com/office/drawing/2014/main" id="{A9150957-DEF3-4A4E-8859-7B9CB357D862}"/>
              </a:ext>
            </a:extLst>
          </p:cNvPr>
          <p:cNvSpPr/>
          <p:nvPr/>
        </p:nvSpPr>
        <p:spPr>
          <a:xfrm>
            <a:off x="8265219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6966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marL="609585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77B953D6-C6E8-9F4D-AA65-377DB3459E98}"/>
              </a:ext>
            </a:extLst>
          </p:cNvPr>
          <p:cNvSpPr/>
          <p:nvPr/>
        </p:nvSpPr>
        <p:spPr>
          <a:xfrm>
            <a:off x="4509808" y="2690433"/>
            <a:ext cx="3545051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Площадь </a:t>
            </a:r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&gt; 50?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024B2089-526A-D547-9465-F612CAB182A2}"/>
              </a:ext>
            </a:extLst>
          </p:cNvPr>
          <p:cNvSpPr/>
          <p:nvPr/>
        </p:nvSpPr>
        <p:spPr>
          <a:xfrm>
            <a:off x="1487157" y="3997554"/>
            <a:ext cx="3983082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Район = Хамовники</a:t>
            </a:r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1159893-98D2-F94A-B0F2-847AD02B4DCB}"/>
              </a:ext>
            </a:extLst>
          </p:cNvPr>
          <p:cNvSpPr/>
          <p:nvPr/>
        </p:nvSpPr>
        <p:spPr>
          <a:xfrm>
            <a:off x="6830592" y="4011153"/>
            <a:ext cx="3983082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Комнат больше 2</a:t>
            </a:r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912B6BB-0E5F-854D-B979-A8A09EDBD322}"/>
              </a:ext>
            </a:extLst>
          </p:cNvPr>
          <p:cNvSpPr/>
          <p:nvPr/>
        </p:nvSpPr>
        <p:spPr>
          <a:xfrm>
            <a:off x="12027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6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9111FE8-FA84-6B4C-A527-23FD671FF73D}"/>
              </a:ext>
            </a:extLst>
          </p:cNvPr>
          <p:cNvSpPr/>
          <p:nvPr/>
        </p:nvSpPr>
        <p:spPr>
          <a:xfrm>
            <a:off x="37425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10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3F713D17-2A96-4049-B09E-88CEC593FB9A}"/>
              </a:ext>
            </a:extLst>
          </p:cNvPr>
          <p:cNvSpPr/>
          <p:nvPr/>
        </p:nvSpPr>
        <p:spPr>
          <a:xfrm>
            <a:off x="62823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15</a:t>
            </a:r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8268F05C-F8BF-7144-890C-084CF2AB2F3B}"/>
              </a:ext>
            </a:extLst>
          </p:cNvPr>
          <p:cNvSpPr/>
          <p:nvPr/>
        </p:nvSpPr>
        <p:spPr>
          <a:xfrm>
            <a:off x="88221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20</a:t>
            </a:r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6EC976D-2FF6-9F47-A03C-1F1B2ADC947B}"/>
              </a:ext>
            </a:extLst>
          </p:cNvPr>
          <p:cNvCxnSpPr>
            <a:stCxn id="17" idx="2"/>
            <a:endCxn id="19" idx="0"/>
          </p:cNvCxnSpPr>
          <p:nvPr/>
        </p:nvCxnSpPr>
        <p:spPr>
          <a:xfrm flipH="1">
            <a:off x="3478698" y="3246232"/>
            <a:ext cx="2803635" cy="7513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5D3E8A8-1446-D94B-B473-C286A0E11010}"/>
              </a:ext>
            </a:extLst>
          </p:cNvPr>
          <p:cNvCxnSpPr>
            <a:cxnSpLocks/>
            <a:stCxn id="17" idx="2"/>
            <a:endCxn id="22" idx="0"/>
          </p:cNvCxnSpPr>
          <p:nvPr/>
        </p:nvCxnSpPr>
        <p:spPr>
          <a:xfrm>
            <a:off x="6282334" y="3246231"/>
            <a:ext cx="2539800" cy="7649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A4FA5A3-385B-A740-BB12-2D3B44B743CD}"/>
              </a:ext>
            </a:extLst>
          </p:cNvPr>
          <p:cNvCxnSpPr>
            <a:cxnSpLocks/>
            <a:stCxn id="19" idx="2"/>
            <a:endCxn id="25" idx="0"/>
          </p:cNvCxnSpPr>
          <p:nvPr/>
        </p:nvCxnSpPr>
        <p:spPr>
          <a:xfrm flipH="1">
            <a:off x="2340716" y="4553353"/>
            <a:ext cx="1137982" cy="7513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77A8809-AA0A-D642-B7AF-59C1E044D9E7}"/>
              </a:ext>
            </a:extLst>
          </p:cNvPr>
          <p:cNvCxnSpPr>
            <a:cxnSpLocks/>
            <a:stCxn id="19" idx="2"/>
            <a:endCxn id="26" idx="0"/>
          </p:cNvCxnSpPr>
          <p:nvPr/>
        </p:nvCxnSpPr>
        <p:spPr>
          <a:xfrm>
            <a:off x="3478699" y="4553353"/>
            <a:ext cx="1401817" cy="7513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BE3145A-3CAC-D549-89BE-26F0A8E66DEC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 flipH="1">
            <a:off x="7420317" y="4566951"/>
            <a:ext cx="1401817" cy="7377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274A069-3AFA-F441-ADE3-CBB52D1763D9}"/>
              </a:ext>
            </a:extLst>
          </p:cNvPr>
          <p:cNvCxnSpPr>
            <a:cxnSpLocks/>
            <a:stCxn id="22" idx="2"/>
            <a:endCxn id="29" idx="0"/>
          </p:cNvCxnSpPr>
          <p:nvPr/>
        </p:nvCxnSpPr>
        <p:spPr>
          <a:xfrm>
            <a:off x="8822133" y="4566951"/>
            <a:ext cx="1137982" cy="7377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4F89EDAE-8B1D-CD48-A543-AEDDD8A626AD}"/>
              </a:ext>
            </a:extLst>
          </p:cNvPr>
          <p:cNvSpPr txBox="1"/>
          <p:nvPr/>
        </p:nvSpPr>
        <p:spPr>
          <a:xfrm>
            <a:off x="8089316" y="3171338"/>
            <a:ext cx="580608" cy="5490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507846"/>
            <a:r>
              <a:rPr lang="ru-RU" sz="2968" dirty="0">
                <a:solidFill>
                  <a:prstClr val="black"/>
                </a:solidFill>
                <a:latin typeface="Calibri" panose="020F0502020204030204"/>
              </a:rPr>
              <a:t>да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94E2530-F04D-9046-856F-CBDF1E9C8ABA}"/>
              </a:ext>
            </a:extLst>
          </p:cNvPr>
          <p:cNvSpPr txBox="1"/>
          <p:nvPr/>
        </p:nvSpPr>
        <p:spPr>
          <a:xfrm>
            <a:off x="3405405" y="3161485"/>
            <a:ext cx="723403" cy="5490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507846"/>
            <a:r>
              <a:rPr lang="ru-RU" sz="2968" dirty="0">
                <a:solidFill>
                  <a:prstClr val="black"/>
                </a:solidFill>
                <a:latin typeface="Calibri" panose="020F0502020204030204"/>
              </a:rPr>
              <a:t>нет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54881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marL="609557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FE87F167-CFEE-D440-BFAD-BE846B8207C0}"/>
                  </a:ext>
                </a:extLst>
              </p:cNvPr>
              <p:cNvSpPr/>
              <p:nvPr/>
            </p:nvSpPr>
            <p:spPr>
              <a:xfrm>
                <a:off x="2903557" y="2903464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FE87F167-CFEE-D440-BFAD-BE846B8207C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3557" y="2903464"/>
                <a:ext cx="720030" cy="720030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E460C62B-0FD8-CA45-869E-C386DCC7D742}"/>
                  </a:ext>
                </a:extLst>
              </p:cNvPr>
              <p:cNvSpPr/>
              <p:nvPr/>
            </p:nvSpPr>
            <p:spPr>
              <a:xfrm>
                <a:off x="2885112" y="3911505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E460C62B-0FD8-CA45-869E-C386DCC7D7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5112" y="3911505"/>
                <a:ext cx="720030" cy="720030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B7095AD-C002-3045-A485-6C973B58E8B6}"/>
                  </a:ext>
                </a:extLst>
              </p:cNvPr>
              <p:cNvSpPr/>
              <p:nvPr/>
            </p:nvSpPr>
            <p:spPr>
              <a:xfrm>
                <a:off x="5135648" y="2641246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B7095AD-C002-3045-A485-6C973B58E8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648" y="2641246"/>
                <a:ext cx="720030" cy="72003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D6C1C77-CE63-4C47-9752-088FA46FA86E}"/>
                  </a:ext>
                </a:extLst>
              </p:cNvPr>
              <p:cNvSpPr/>
              <p:nvPr/>
            </p:nvSpPr>
            <p:spPr>
              <a:xfrm>
                <a:off x="5135648" y="3419431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D6C1C77-CE63-4C47-9752-088FA46FA86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648" y="3419431"/>
                <a:ext cx="720030" cy="72003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9E306E5-A75F-E440-B090-1ACE4816158B}"/>
                  </a:ext>
                </a:extLst>
              </p:cNvPr>
              <p:cNvSpPr/>
              <p:nvPr/>
            </p:nvSpPr>
            <p:spPr>
              <a:xfrm>
                <a:off x="5135648" y="4203618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9E306E5-A75F-E440-B090-1ACE4816158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648" y="4203618"/>
                <a:ext cx="720030" cy="720030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D6593FC-7F83-D046-B04C-3ABCF247ECC4}"/>
                  </a:ext>
                </a:extLst>
              </p:cNvPr>
              <p:cNvSpPr/>
              <p:nvPr/>
            </p:nvSpPr>
            <p:spPr>
              <a:xfrm>
                <a:off x="8955157" y="3413776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2400" b="1" i="1" dirty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D6593FC-7F83-D046-B04C-3ABCF247ECC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5157" y="3413776"/>
                <a:ext cx="720030" cy="720030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F6814BE-1891-8F49-8A38-7288E9B421EF}"/>
              </a:ext>
            </a:extLst>
          </p:cNvPr>
          <p:cNvCxnSpPr>
            <a:cxnSpLocks/>
            <a:stCxn id="22" idx="6"/>
          </p:cNvCxnSpPr>
          <p:nvPr/>
        </p:nvCxnSpPr>
        <p:spPr>
          <a:xfrm flipV="1">
            <a:off x="3623586" y="3009542"/>
            <a:ext cx="1512062" cy="25393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37A02CA-5D88-BF48-A36B-7C6906DEC7E9}"/>
              </a:ext>
            </a:extLst>
          </p:cNvPr>
          <p:cNvCxnSpPr>
            <a:cxnSpLocks/>
            <a:stCxn id="22" idx="6"/>
            <a:endCxn id="28" idx="2"/>
          </p:cNvCxnSpPr>
          <p:nvPr/>
        </p:nvCxnSpPr>
        <p:spPr>
          <a:xfrm>
            <a:off x="3623586" y="3263480"/>
            <a:ext cx="1512062" cy="515968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99C9D44-7BAC-A042-8119-E659F09F84BD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>
            <a:off x="3623586" y="3263479"/>
            <a:ext cx="1512062" cy="1300156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5000FEEB-895C-6E49-BEFE-99B435620620}"/>
              </a:ext>
            </a:extLst>
          </p:cNvPr>
          <p:cNvCxnSpPr>
            <a:cxnSpLocks/>
            <a:stCxn id="25" idx="6"/>
            <a:endCxn id="26" idx="2"/>
          </p:cNvCxnSpPr>
          <p:nvPr/>
        </p:nvCxnSpPr>
        <p:spPr>
          <a:xfrm flipV="1">
            <a:off x="3605145" y="3001265"/>
            <a:ext cx="1530506" cy="127025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B72EA37-9347-0E45-9517-45419477F4B4}"/>
              </a:ext>
            </a:extLst>
          </p:cNvPr>
          <p:cNvCxnSpPr>
            <a:cxnSpLocks/>
            <a:stCxn id="25" idx="6"/>
          </p:cNvCxnSpPr>
          <p:nvPr/>
        </p:nvCxnSpPr>
        <p:spPr>
          <a:xfrm flipV="1">
            <a:off x="3605145" y="3773792"/>
            <a:ext cx="1530506" cy="49772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17FAF5D-EADE-034D-B61C-8E61B753D319}"/>
              </a:ext>
            </a:extLst>
          </p:cNvPr>
          <p:cNvCxnSpPr>
            <a:cxnSpLocks/>
            <a:stCxn id="25" idx="6"/>
            <a:endCxn id="29" idx="2"/>
          </p:cNvCxnSpPr>
          <p:nvPr/>
        </p:nvCxnSpPr>
        <p:spPr>
          <a:xfrm>
            <a:off x="3605145" y="4271521"/>
            <a:ext cx="1530506" cy="292114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D9189AA-844C-DF43-8A66-F6AD3F4B37C0}"/>
              </a:ext>
            </a:extLst>
          </p:cNvPr>
          <p:cNvCxnSpPr>
            <a:cxnSpLocks/>
            <a:stCxn id="26" idx="6"/>
            <a:endCxn id="43" idx="2"/>
          </p:cNvCxnSpPr>
          <p:nvPr/>
        </p:nvCxnSpPr>
        <p:spPr>
          <a:xfrm>
            <a:off x="5855678" y="3001264"/>
            <a:ext cx="1673814" cy="335509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C0EEC14-D5FA-D94B-B88B-94F2A3A979A8}"/>
              </a:ext>
            </a:extLst>
          </p:cNvPr>
          <p:cNvCxnSpPr>
            <a:cxnSpLocks/>
            <a:endCxn id="43" idx="2"/>
          </p:cNvCxnSpPr>
          <p:nvPr/>
        </p:nvCxnSpPr>
        <p:spPr>
          <a:xfrm flipV="1">
            <a:off x="5855678" y="3336772"/>
            <a:ext cx="1673814" cy="442676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7E9E755-1BDE-E14C-9EBF-E93E30EA5F80}"/>
              </a:ext>
            </a:extLst>
          </p:cNvPr>
          <p:cNvCxnSpPr>
            <a:cxnSpLocks/>
            <a:endCxn id="43" idx="2"/>
          </p:cNvCxnSpPr>
          <p:nvPr/>
        </p:nvCxnSpPr>
        <p:spPr>
          <a:xfrm flipV="1">
            <a:off x="5855678" y="3336771"/>
            <a:ext cx="1673814" cy="1226862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23CF5D5-85F1-A042-82BB-F66469D82723}"/>
                  </a:ext>
                </a:extLst>
              </p:cNvPr>
              <p:cNvSpPr/>
              <p:nvPr/>
            </p:nvSpPr>
            <p:spPr>
              <a:xfrm>
                <a:off x="7529492" y="2976756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23CF5D5-85F1-A042-82BB-F66469D827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9492" y="2976756"/>
                <a:ext cx="720030" cy="720030"/>
              </a:xfrm>
              <a:prstGeom prst="ellipse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EAD7BC41-E147-EF48-9167-F86FAC795C74}"/>
                  </a:ext>
                </a:extLst>
              </p:cNvPr>
              <p:cNvSpPr/>
              <p:nvPr/>
            </p:nvSpPr>
            <p:spPr>
              <a:xfrm>
                <a:off x="7529492" y="3952493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EAD7BC41-E147-EF48-9167-F86FAC795C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9492" y="3952493"/>
                <a:ext cx="720030" cy="720030"/>
              </a:xfrm>
              <a:prstGeom prst="ellipse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DB67ED8-E560-714E-9C23-A44B585D3E94}"/>
              </a:ext>
            </a:extLst>
          </p:cNvPr>
          <p:cNvCxnSpPr>
            <a:cxnSpLocks/>
            <a:stCxn id="26" idx="6"/>
            <a:endCxn id="44" idx="2"/>
          </p:cNvCxnSpPr>
          <p:nvPr/>
        </p:nvCxnSpPr>
        <p:spPr>
          <a:xfrm>
            <a:off x="5855678" y="3001262"/>
            <a:ext cx="1673814" cy="131124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34115DA-2D0A-0145-B003-4F2AD303F8A2}"/>
              </a:ext>
            </a:extLst>
          </p:cNvPr>
          <p:cNvCxnSpPr>
            <a:cxnSpLocks/>
            <a:stCxn id="28" idx="6"/>
            <a:endCxn id="44" idx="2"/>
          </p:cNvCxnSpPr>
          <p:nvPr/>
        </p:nvCxnSpPr>
        <p:spPr>
          <a:xfrm>
            <a:off x="5855678" y="3779449"/>
            <a:ext cx="1673814" cy="53306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89230E0C-CC82-204E-8B83-637AB61E934B}"/>
              </a:ext>
            </a:extLst>
          </p:cNvPr>
          <p:cNvCxnSpPr>
            <a:cxnSpLocks/>
            <a:stCxn id="29" idx="6"/>
            <a:endCxn id="44" idx="2"/>
          </p:cNvCxnSpPr>
          <p:nvPr/>
        </p:nvCxnSpPr>
        <p:spPr>
          <a:xfrm flipV="1">
            <a:off x="5855678" y="4312510"/>
            <a:ext cx="1673814" cy="251125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4D96CED-9E84-964E-AB8B-30C4236B142D}"/>
              </a:ext>
            </a:extLst>
          </p:cNvPr>
          <p:cNvCxnSpPr>
            <a:cxnSpLocks/>
            <a:stCxn id="43" idx="6"/>
            <a:endCxn id="31" idx="2"/>
          </p:cNvCxnSpPr>
          <p:nvPr/>
        </p:nvCxnSpPr>
        <p:spPr>
          <a:xfrm>
            <a:off x="8249524" y="3336772"/>
            <a:ext cx="705635" cy="437020"/>
          </a:xfrm>
          <a:prstGeom prst="straightConnector1">
            <a:avLst/>
          </a:prstGeom>
          <a:ln w="28575">
            <a:solidFill>
              <a:srgbClr val="F05E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6116209-D8CE-364A-B9AB-EC2EA907B1FF}"/>
              </a:ext>
            </a:extLst>
          </p:cNvPr>
          <p:cNvCxnSpPr>
            <a:cxnSpLocks/>
            <a:stCxn id="44" idx="6"/>
            <a:endCxn id="31" idx="2"/>
          </p:cNvCxnSpPr>
          <p:nvPr/>
        </p:nvCxnSpPr>
        <p:spPr>
          <a:xfrm flipV="1">
            <a:off x="8249524" y="3773793"/>
            <a:ext cx="705635" cy="538717"/>
          </a:xfrm>
          <a:prstGeom prst="straightConnector1">
            <a:avLst/>
          </a:prstGeom>
          <a:ln w="28575">
            <a:solidFill>
              <a:srgbClr val="F05E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90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(число комнат)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d>
                      <m:dPr>
                        <m:ctrlPr>
                          <a:rPr lang="ru-RU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число комнат</m:t>
                        </m:r>
                      </m:e>
                    </m:d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∗(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расстояние до метро)</m:t>
                    </m:r>
                  </m:oMath>
                </a14:m>
                <a:endParaRPr lang="en-US" dirty="0"/>
              </a:p>
              <a:p>
                <a:r>
                  <a:rPr lang="ru-RU" dirty="0"/>
                  <a:t>Вид формулы задает </a:t>
                </a:r>
                <a:r>
                  <a:rPr lang="ru-RU" b="1" dirty="0"/>
                  <a:t>класс</a:t>
                </a:r>
                <a:r>
                  <a:rPr lang="ru-RU" dirty="0"/>
                  <a:t> </a:t>
                </a:r>
                <a:r>
                  <a:rPr lang="ru-RU" b="1" dirty="0"/>
                  <a:t>алгоритмов</a:t>
                </a:r>
                <a:endParaRPr lang="en-US" b="1" dirty="0"/>
              </a:p>
              <a:p>
                <a:pPr marL="0" indent="0">
                  <a:buNone/>
                </a:pPr>
                <a:endParaRPr lang="ru-RU" dirty="0"/>
              </a:p>
              <a:p>
                <a:r>
                  <a:rPr lang="ru-RU" dirty="0"/>
                  <a:t>Где взять параметры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en-US" dirty="0"/>
                  <a:t>?</a:t>
                </a:r>
                <a:endParaRPr lang="ru-RU" dirty="0"/>
              </a:p>
              <a:p>
                <a:r>
                  <a:rPr lang="ru-RU" b="1" dirty="0"/>
                  <a:t>Обучение</a:t>
                </a:r>
                <a:r>
                  <a:rPr lang="ru-RU" dirty="0"/>
                  <a:t> – поиск оптимальных параметров алгоритма</a:t>
                </a:r>
              </a:p>
              <a:p>
                <a:endParaRPr lang="ru-RU" dirty="0"/>
              </a:p>
              <a:p>
                <a:pPr marL="609585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 b="-2709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F3A05F3F-69E9-CF40-B667-94BC9A7298E1}"/>
              </a:ext>
            </a:extLst>
          </p:cNvPr>
          <p:cNvSpPr/>
          <p:nvPr/>
        </p:nvSpPr>
        <p:spPr>
          <a:xfrm>
            <a:off x="1236134" y="2190997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C4E9A982-EE37-5242-AE47-DF538CC8B055}"/>
              </a:ext>
            </a:extLst>
          </p:cNvPr>
          <p:cNvSpPr/>
          <p:nvPr/>
        </p:nvSpPr>
        <p:spPr>
          <a:xfrm>
            <a:off x="1236134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" name="Alternate Process 6">
            <a:extLst>
              <a:ext uri="{FF2B5EF4-FFF2-40B4-BE49-F238E27FC236}">
                <a16:creationId xmlns:a16="http://schemas.microsoft.com/office/drawing/2014/main" id="{466BEC62-42B8-8B41-B897-8E573487FF4C}"/>
              </a:ext>
            </a:extLst>
          </p:cNvPr>
          <p:cNvSpPr/>
          <p:nvPr/>
        </p:nvSpPr>
        <p:spPr>
          <a:xfrm>
            <a:off x="4097867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8" name="Alternate Process 4">
            <a:extLst>
              <a:ext uri="{FF2B5EF4-FFF2-40B4-BE49-F238E27FC236}">
                <a16:creationId xmlns:a16="http://schemas.microsoft.com/office/drawing/2014/main" id="{86490842-F0DB-984C-912C-4C2951992FB4}"/>
              </a:ext>
            </a:extLst>
          </p:cNvPr>
          <p:cNvSpPr/>
          <p:nvPr/>
        </p:nvSpPr>
        <p:spPr>
          <a:xfrm>
            <a:off x="1236134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9" name="Alternate Process 6">
            <a:extLst>
              <a:ext uri="{FF2B5EF4-FFF2-40B4-BE49-F238E27FC236}">
                <a16:creationId xmlns:a16="http://schemas.microsoft.com/office/drawing/2014/main" id="{A3DE7AF7-ADEC-9D46-AE14-91876F9A108F}"/>
              </a:ext>
            </a:extLst>
          </p:cNvPr>
          <p:cNvSpPr/>
          <p:nvPr/>
        </p:nvSpPr>
        <p:spPr>
          <a:xfrm>
            <a:off x="4097867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0" name="Alternate Process 6">
            <a:extLst>
              <a:ext uri="{FF2B5EF4-FFF2-40B4-BE49-F238E27FC236}">
                <a16:creationId xmlns:a16="http://schemas.microsoft.com/office/drawing/2014/main" id="{A9150957-DEF3-4A4E-8859-7B9CB357D862}"/>
              </a:ext>
            </a:extLst>
          </p:cNvPr>
          <p:cNvSpPr/>
          <p:nvPr/>
        </p:nvSpPr>
        <p:spPr>
          <a:xfrm>
            <a:off x="8265219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10656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r>
              <a:rPr sz="3733" dirty="0" err="1"/>
              <a:t>Функция</a:t>
            </a:r>
            <a:r>
              <a:rPr sz="3733" dirty="0"/>
              <a:t> </a:t>
            </a:r>
            <a:r>
              <a:rPr sz="3733" dirty="0" err="1"/>
              <a:t>потерь</a:t>
            </a:r>
            <a:endParaRPr sz="373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2"/>
              <p:cNvSpPr txBox="1">
                <a:spLocks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60959" rIns="60959">
                <a:normAutofit/>
              </a:bodyPr>
              <a:lstStyle>
                <a:lvl1pPr marL="2286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1pPr>
                <a:lvl2pPr marL="6858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2pPr>
                <a:lvl3pPr marL="11430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3pPr>
                <a:lvl4pPr marL="16002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4pPr>
                <a:lvl5pPr marL="20574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5pPr>
                <a:lvl6pPr marL="26416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6pPr>
                <a:lvl7pPr marL="30988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7pPr>
                <a:lvl8pPr marL="35560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8pPr>
                <a:lvl9pPr marL="40132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9pPr>
              </a:lstStyle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Не все формулы полезны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lang="en-US" sz="3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𝑎</m:t>
                    </m:r>
                    <m:d>
                      <m:dPr>
                        <m:ctrlPr>
                          <a:rPr lang="en-US" sz="3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r>
                          <a:rPr lang="en-US" sz="3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</m:d>
                    <m:r>
                      <a:rPr lang="en-US" sz="3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0</m:t>
                    </m:r>
                  </m:oMath>
                </a14:m>
                <a:r>
                  <a:rPr lang="en-US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— </a:t>
                </a: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не принесет никакой выгоды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Функция потерь — мера корректности ответа алгоритма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Предсказали стоимость 5.000.000, на самом деле 7.000.000</a:t>
                </a:r>
                <a:r>
                  <a:rPr lang="en-US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— </a:t>
                </a: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хорошо или плохо?</a:t>
                </a:r>
                <a:endParaRPr lang="en-US" sz="3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6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blipFill>
                <a:blip r:embed="rId2"/>
                <a:stretch>
                  <a:fillRect l="-1461" t="-2648"/>
                </a:stretch>
              </a:blip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val="1"/>
                </a:ext>
              </a:extLst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44675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r>
              <a:rPr sz="3733" dirty="0" err="1"/>
              <a:t>Функция</a:t>
            </a:r>
            <a:r>
              <a:rPr sz="3733" dirty="0"/>
              <a:t> </a:t>
            </a:r>
            <a:r>
              <a:rPr sz="3733" dirty="0" err="1"/>
              <a:t>потерь</a:t>
            </a:r>
            <a:endParaRPr sz="373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2"/>
              <p:cNvSpPr txBox="1">
                <a:spLocks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60959" rIns="60959">
                <a:normAutofit fontScale="92500"/>
              </a:bodyPr>
              <a:lstStyle>
                <a:lvl1pPr marL="2286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1pPr>
                <a:lvl2pPr marL="6858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2pPr>
                <a:lvl3pPr marL="11430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3pPr>
                <a:lvl4pPr marL="16002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4pPr>
                <a:lvl5pPr marL="20574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5pPr>
                <a:lvl6pPr marL="26416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6pPr>
                <a:lvl7pPr marL="30988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7pPr>
                <a:lvl8pPr marL="35560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8pPr>
                <a:lvl9pPr marL="40132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9pPr>
              </a:lstStyle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Среднеквадратичная ошибка</a:t>
                </a:r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(Mean Squared Error, MSE)</a:t>
                </a: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:</a:t>
                </a:r>
                <a:endParaRPr lang="en-US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0" lvl="0" indent="0" algn="ctr" defTabSz="1219170">
                  <a:spcBef>
                    <a:spcPts val="1333"/>
                  </a:spcBef>
                  <a:buNone/>
                  <a:defRPr/>
                </a:pPr>
                <a:r>
                  <a:rPr lang="ru-RU" sz="2800" dirty="0">
                    <a:solidFill>
                      <a:prstClr val="black"/>
                    </a:solidFill>
                    <a:latin typeface="Calibri" panose="020F0502020204030204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ru-RU" sz="28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ru-RU" sz="28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прогноз−факт</m:t>
                            </m:r>
                          </m:e>
                        </m:d>
                      </m:e>
                      <m:sup>
                        <m:r>
                          <a:rPr lang="en-US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sz="2800" dirty="0">
                  <a:solidFill>
                    <a:prstClr val="black"/>
                  </a:solidFill>
                  <a:latin typeface="Calibri" panose="020F0502020204030204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lang="ru-RU" sz="2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прогн</m:t>
                    </m:r>
                    <m:r>
                      <a:rPr lang="ru-RU" sz="28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оз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, </a:t>
                </a:r>
                <a14:m>
                  <m:oMath xmlns:m="http://schemas.openxmlformats.org/officeDocument/2006/math">
                    <m:r>
                      <a:rPr lang="ru-RU" sz="2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факт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⟹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sz="2800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.000.000−1.000.000</m:t>
                            </m:r>
                          </m:e>
                        </m:d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p>
                    </m:sSup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0</m:t>
                    </m:r>
                  </m:oMath>
                </a14:m>
                <a:endParaRPr lang="en-US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indent="-304792" defTabSz="1219170">
                  <a:spcBef>
                    <a:spcPts val="1333"/>
                  </a:spcBef>
                  <a:defRPr/>
                </a:pP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прогн</m:t>
                    </m:r>
                    <m:r>
                      <a:rPr lang="ru-RU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оз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,</a:t>
                </a: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факт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5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⟹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sz="2800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.000.000−1.000.005</m:t>
                            </m:r>
                          </m:e>
                        </m:d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p>
                    </m:sSup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25</m:t>
                    </m:r>
                  </m:oMath>
                </a14:m>
                <a:endParaRPr lang="en-US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indent="-304792" defTabSz="1219170">
                  <a:spcBef>
                    <a:spcPts val="1333"/>
                  </a:spcBef>
                  <a:defRPr/>
                </a:pP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прогн</m:t>
                    </m:r>
                    <m:r>
                      <a:rPr lang="ru-RU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оз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,</a:t>
                </a: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факт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2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⟹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sz="2800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.000.000−2.000.000</m:t>
                            </m:r>
                          </m:e>
                        </m:d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p>
                    </m:sSup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</m:t>
                    </m:r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10</m:t>
                        </m:r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12</m:t>
                        </m:r>
                      </m:sup>
                    </m:sSup>
                  </m:oMath>
                </a14:m>
                <a:endParaRPr lang="ru-RU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endParaRPr lang="ru-RU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Функция потерь должна соответствовать бизнес-требованиям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Одна из самых важных составляющих анализа данных</a:t>
                </a:r>
              </a:p>
            </p:txBody>
          </p:sp>
        </mc:Choice>
        <mc:Fallback xmlns="">
          <p:sp>
            <p:nvSpPr>
              <p:cNvPr id="6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blipFill>
                <a:blip r:embed="rId2"/>
                <a:stretch>
                  <a:fillRect l="-1086" t="-1832"/>
                </a:stretch>
              </a:blip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val="1"/>
                </a:ext>
              </a:extLst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80024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Есть обучающая выборка (+признаки)</a:t>
            </a:r>
            <a:endParaRPr lang="en-US" dirty="0"/>
          </a:p>
          <a:p>
            <a:r>
              <a:rPr lang="ru-RU" dirty="0"/>
              <a:t>Есть функция потерь</a:t>
            </a:r>
          </a:p>
          <a:p>
            <a:r>
              <a:rPr lang="ru-RU" dirty="0"/>
              <a:t>Есть набор алгоритмов (обычно задаются параметрами)</a:t>
            </a:r>
          </a:p>
          <a:p>
            <a:pPr lvl="1"/>
            <a:r>
              <a:rPr lang="ru-RU" dirty="0"/>
              <a:t>Пример: «Если зарплата больше </a:t>
            </a:r>
            <a:r>
              <a:rPr lang="en-US" b="1" dirty="0"/>
              <a:t>a</a:t>
            </a:r>
            <a:r>
              <a:rPr lang="ru-RU" dirty="0"/>
              <a:t>, даем кредит» (</a:t>
            </a:r>
            <a:r>
              <a:rPr lang="en-US" b="1" dirty="0"/>
              <a:t>a</a:t>
            </a:r>
            <a:r>
              <a:rPr lang="en-US" dirty="0"/>
              <a:t> </a:t>
            </a:r>
            <a:r>
              <a:rPr lang="mr-IN" dirty="0"/>
              <a:t>–</a:t>
            </a:r>
            <a:r>
              <a:rPr lang="en-US" dirty="0"/>
              <a:t> </a:t>
            </a:r>
            <a:r>
              <a:rPr lang="ru-RU" dirty="0"/>
              <a:t>параметр)</a:t>
            </a:r>
          </a:p>
          <a:p>
            <a:r>
              <a:rPr lang="ru-RU" dirty="0"/>
              <a:t>Обучение = </a:t>
            </a:r>
            <a:r>
              <a:rPr lang="ru-RU" b="1" dirty="0"/>
              <a:t>поиск оптимальных параметров </a:t>
            </a:r>
            <a:r>
              <a:rPr lang="ru-RU" dirty="0"/>
              <a:t>алгоритма с точки зрения функции потерь на обучающей выборке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5369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Можно задать многими способами</a:t>
            </a:r>
          </a:p>
          <a:p>
            <a:r>
              <a:rPr lang="ru-RU" dirty="0"/>
              <a:t>Пример: предсказываем, возьмёт ли клиент кредит</a:t>
            </a:r>
          </a:p>
          <a:p>
            <a:r>
              <a:rPr lang="ru-RU" dirty="0"/>
              <a:t>Вариант 1: возьмёт </a:t>
            </a:r>
            <a:r>
              <a:rPr lang="en-US" dirty="0"/>
              <a:t>/ </a:t>
            </a:r>
            <a:r>
              <a:rPr lang="ru-RU" dirty="0"/>
              <a:t>не возьмёт</a:t>
            </a:r>
          </a:p>
          <a:p>
            <a:pPr lvl="1"/>
            <a:r>
              <a:rPr lang="ru-RU" dirty="0"/>
              <a:t>Можем сфокусироваться на мелких кредитах</a:t>
            </a:r>
          </a:p>
          <a:p>
            <a:pPr lvl="1"/>
            <a:r>
              <a:rPr lang="ru-RU" dirty="0"/>
              <a:t>Алгоритм не будет учитывать доходность кредитов</a:t>
            </a:r>
          </a:p>
          <a:p>
            <a:r>
              <a:rPr lang="ru-RU" dirty="0"/>
              <a:t>Вариант 2: не возьмёт </a:t>
            </a:r>
            <a:r>
              <a:rPr lang="en-US" dirty="0"/>
              <a:t>/ </a:t>
            </a:r>
            <a:r>
              <a:rPr lang="ru-RU" dirty="0"/>
              <a:t>возьмёт на 100-200 тысяч </a:t>
            </a:r>
            <a:r>
              <a:rPr lang="en-US" dirty="0"/>
              <a:t>/ </a:t>
            </a:r>
            <a:r>
              <a:rPr lang="ru-RU" dirty="0"/>
              <a:t>возьмёт на 200-500 тысяч </a:t>
            </a:r>
            <a:r>
              <a:rPr lang="en-US" dirty="0"/>
              <a:t>/ …</a:t>
            </a:r>
          </a:p>
          <a:p>
            <a:pPr lvl="1"/>
            <a:r>
              <a:rPr lang="ru-RU" dirty="0"/>
              <a:t>Можно выставить штрафы за разные ошибки</a:t>
            </a:r>
          </a:p>
          <a:p>
            <a:pPr lvl="1"/>
            <a:r>
              <a:rPr lang="ru-RU" dirty="0"/>
              <a:t>Можно сосредоточиться на самых доходных случаях</a:t>
            </a:r>
            <a:endParaRPr dirty="0"/>
          </a:p>
        </p:txBody>
      </p:sp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13"/>
            <a:r>
              <a:rPr lang="ru-RU" sz="3400" dirty="0"/>
              <a:t>Целевая переменная</a:t>
            </a:r>
            <a:endParaRPr sz="3400" dirty="0"/>
          </a:p>
        </p:txBody>
      </p:sp>
    </p:spTree>
    <p:extLst>
      <p:ext uri="{BB962C8B-B14F-4D97-AF65-F5344CB8AC3E}">
        <p14:creationId xmlns:p14="http://schemas.microsoft.com/office/powerpoint/2010/main" val="28390447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0EA89A22-373E-AF43-A22E-EA6D185ADE6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Такие, где </a:t>
                </a:r>
                <a14:m>
                  <m:oMath xmlns:m="http://schemas.openxmlformats.org/officeDocument/2006/math">
                    <m:r>
                      <a:rPr lang="en-US" i="1" dirty="0">
                        <a:latin typeface="Cambria Math" panose="02040503050406030204" pitchFamily="18" charset="0"/>
                      </a:rPr>
                      <m:t>𝑎</m:t>
                    </m:r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dirty="0"/>
                  <a:t> с минимальной ошибкой</a:t>
                </a:r>
              </a:p>
              <a:p>
                <a:r>
                  <a:rPr lang="ru-RU" dirty="0"/>
                  <a:t>Что такое ошибка в нашем случае?</a:t>
                </a:r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0EA89A22-373E-AF43-A22E-EA6D185ADE6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868" t="-180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AB68B0CE-A5B3-4346-B574-1ED1C236E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нять какие параметры оптимальные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1">
                <a:extLst>
                  <a:ext uri="{FF2B5EF4-FFF2-40B4-BE49-F238E27FC236}">
                    <a16:creationId xmlns:a16="http://schemas.microsoft.com/office/drawing/2014/main" id="{437304DF-E80D-1043-868C-35B28695C2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3328" y="2377719"/>
                <a:ext cx="5759189" cy="51818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60959" rIns="60959">
                <a:noAutofit/>
              </a:bodyPr>
              <a:lstStyle>
                <a:lvl1pPr marL="2286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1pPr>
                <a:lvl2pPr marL="6858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2pPr>
                <a:lvl3pPr marL="11430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3pPr>
                <a:lvl4pPr marL="16002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4pPr>
                <a:lvl5pPr marL="20574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5pPr>
                <a:lvl6pPr marL="26416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6pPr>
                <a:lvl7pPr marL="30988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7pPr>
                <a:lvl8pPr marL="35560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8pPr>
                <a:lvl9pPr marL="40132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None/>
                  <a:tabLst/>
                  <a:defRPr/>
                </a:pP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j-ea"/>
                    <a:cs typeface="+mj-cs"/>
                    <a:sym typeface="Calibri"/>
                  </a:rPr>
                  <a:t>Модель</a:t>
                </a: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 Light" panose="020F0302020204030204"/>
                    <a:ea typeface="+mj-ea"/>
                    <a:cs typeface="+mj-cs"/>
                    <a:sym typeface="Calibri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j-ea"/>
                        <a:cs typeface="+mj-cs"/>
                        <a:sym typeface="Calibri"/>
                      </a:rPr>
                      <m:t>𝑎</m:t>
                    </m:r>
                    <m:d>
                      <m:dPr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j-ea"/>
                            <a:cs typeface="+mj-cs"/>
                            <a:sym typeface="Calibri"/>
                          </a:rPr>
                        </m:ctrlPr>
                      </m:dPr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j-ea"/>
                            <a:cs typeface="+mj-cs"/>
                            <a:sym typeface="Calibri"/>
                          </a:rPr>
                          <m:t>𝑥</m:t>
                        </m:r>
                      </m:e>
                    </m:d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j-ea"/>
                        <a:cs typeface="+mj-cs"/>
                        <a:sym typeface="Calibri"/>
                      </a:rPr>
                      <m:t>=5∗</m:t>
                    </m:r>
                    <m:r>
                      <a:rPr kumimoji="0" lang="ru-RU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j-ea"/>
                        <a:cs typeface="+mj-cs"/>
                        <a:sym typeface="Calibri"/>
                      </a:rPr>
                      <m:t>площадь</m:t>
                    </m:r>
                  </m:oMath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 Light" panose="020F0302020204030204"/>
                  <a:ea typeface="+mj-ea"/>
                  <a:cs typeface="+mj-cs"/>
                  <a:sym typeface="Calibri"/>
                </a:endParaRPr>
              </a:p>
            </p:txBody>
          </p:sp>
        </mc:Choice>
        <mc:Fallback xmlns="">
          <p:sp>
            <p:nvSpPr>
              <p:cNvPr id="4" name="Content Placeholder 1">
                <a:extLst>
                  <a:ext uri="{FF2B5EF4-FFF2-40B4-BE49-F238E27FC236}">
                    <a16:creationId xmlns:a16="http://schemas.microsoft.com/office/drawing/2014/main" id="{437304DF-E80D-1043-868C-35B28695C2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328" y="2377719"/>
                <a:ext cx="5759189" cy="518187"/>
              </a:xfrm>
              <a:prstGeom prst="rect">
                <a:avLst/>
              </a:prstGeom>
              <a:blipFill>
                <a:blip r:embed="rId3"/>
                <a:stretch>
                  <a:fillRect t="-23810" b="-35714"/>
                </a:stretch>
              </a:blipFill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xmlns:a14="http://schemas.microsoft.com/office/drawing/2010/main" val="1"/>
                </a:ext>
              </a:extLst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2290372-F962-4C4A-A1F4-0A138812E186}"/>
              </a:ext>
            </a:extLst>
          </p:cNvPr>
          <p:cNvGraphicFramePr>
            <a:graphicFrameLocks noGrp="1"/>
          </p:cNvGraphicFramePr>
          <p:nvPr/>
        </p:nvGraphicFramePr>
        <p:xfrm>
          <a:off x="271869" y="3007387"/>
          <a:ext cx="4283288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1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86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Площадь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Прогноз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Цена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2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2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6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30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34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1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2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9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4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80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9DA6A761-55EC-5C48-8C41-7977E61C88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12483" y="2352102"/>
                <a:ext cx="5947479" cy="569421"/>
              </a:xfrm>
              <a:prstGeom prst="rect">
                <a:avLst/>
              </a:prstGeom>
            </p:spPr>
            <p:txBody>
              <a:bodyPr vert="horz" lIns="121901" tIns="60951" rIns="121901" bIns="60951" rtlCol="0">
                <a:noAutofit/>
              </a:bodyPr>
              <a:lstStyle>
                <a:lvl1pPr marL="342839" indent="-342839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823" indent="-285701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2801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99920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042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159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282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402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521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Модель </a:t>
                </a:r>
                <a14:m>
                  <m:oMath xmlns:m="http://schemas.openxmlformats.org/officeDocument/2006/math"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n-ea"/>
                        <a:cs typeface="+mn-cs"/>
                        <a:sym typeface="Calibri"/>
                      </a:rPr>
                      <m:t>𝑎</m:t>
                    </m:r>
                    <m:d>
                      <m:dPr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dPr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n-ea"/>
                            <a:cs typeface="+mn-cs"/>
                            <a:sym typeface="Calibri"/>
                          </a:rPr>
                          <m:t>𝑥</m:t>
                        </m:r>
                      </m:e>
                    </m:d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n-ea"/>
                        <a:cs typeface="+mn-cs"/>
                        <a:sym typeface="Calibri"/>
                      </a:rPr>
                      <m:t>=0.1∗</m:t>
                    </m:r>
                    <m:r>
                      <a:rPr kumimoji="0" lang="ru-RU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n-ea"/>
                        <a:cs typeface="+mn-cs"/>
                        <a:sym typeface="Calibri"/>
                      </a:rPr>
                      <m:t>площад</m:t>
                    </m:r>
                    <m:sSup>
                      <m:sSupPr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sSupPr>
                      <m:e>
                        <m:r>
                          <a:rPr kumimoji="0" lang="ru-RU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n-ea"/>
                            <a:cs typeface="+mn-cs"/>
                            <a:sym typeface="Calibri"/>
                          </a:rPr>
                          <m:t>ь</m:t>
                        </m:r>
                      </m:e>
                      <m:sup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n-ea"/>
                            <a:cs typeface="+mn-cs"/>
                            <a:sym typeface="Calibri"/>
                          </a:rPr>
                          <m:t>2</m:t>
                        </m:r>
                      </m:sup>
                    </m:sSup>
                  </m:oMath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</p:txBody>
          </p:sp>
        </mc:Choice>
        <mc:Fallback xmlns="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9DA6A761-55EC-5C48-8C41-7977E61C88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2483" y="2352102"/>
                <a:ext cx="5947479" cy="569421"/>
              </a:xfrm>
              <a:prstGeom prst="rect">
                <a:avLst/>
              </a:prstGeom>
              <a:blipFill>
                <a:blip r:embed="rId4"/>
                <a:stretch>
                  <a:fillRect l="-2132" t="-11111" b="-40000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6925737-716F-6D46-B95A-C29853B0FC2E}"/>
              </a:ext>
            </a:extLst>
          </p:cNvPr>
          <p:cNvGraphicFramePr>
            <a:graphicFrameLocks noGrp="1"/>
          </p:cNvGraphicFramePr>
          <p:nvPr/>
        </p:nvGraphicFramePr>
        <p:xfrm>
          <a:off x="6145613" y="3007387"/>
          <a:ext cx="4283288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1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86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Площадь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Прогноз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Цена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2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2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6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3</a:t>
                      </a:r>
                      <a:r>
                        <a:rPr lang="en-US" sz="2700" b="1" dirty="0"/>
                        <a:t>6</a:t>
                      </a:r>
                      <a:r>
                        <a:rPr lang="ru-RU" sz="2700" b="1" dirty="0"/>
                        <a:t>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34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1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/>
                        <a:t>1</a:t>
                      </a:r>
                      <a:r>
                        <a:rPr lang="ru-RU" sz="2700" b="1" dirty="0"/>
                        <a:t>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2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9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/>
                        <a:t>81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80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8CB746DB-B9AE-0947-8111-63B3E8D6A96C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4570893" y="3007387"/>
              <a:ext cx="1427500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427500">
                      <a:extLst>
                        <a:ext uri="{9D8B030D-6E8A-4147-A177-3AD203B41FA5}">
                          <a16:colId xmlns:a16="http://schemas.microsoft.com/office/drawing/2014/main" val="610872241"/>
                        </a:ext>
                      </a:extLst>
                    </a:gridCol>
                  </a:tblGrid>
                  <a:tr h="52832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270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US" sz="2700" i="1" dirty="0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 – 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en-US" sz="2700" dirty="0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2700" dirty="0"/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822106528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07485284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6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90243137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9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57550699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225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77934875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8CB746DB-B9AE-0947-8111-63B3E8D6A96C}"/>
                  </a:ext>
                </a:extLst>
              </p:cNvPr>
              <p:cNvGraphicFramePr>
                <a:graphicFrameLocks noGrp="1"/>
              </p:cNvGraphicFramePr>
              <p:nvPr>
                <p:extLst/>
              </p:nvPr>
            </p:nvGraphicFramePr>
            <p:xfrm>
              <a:off x="4570893" y="3007387"/>
              <a:ext cx="1427500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427500">
                      <a:extLst>
                        <a:ext uri="{9D8B030D-6E8A-4147-A177-3AD203B41FA5}">
                          <a16:colId xmlns:a16="http://schemas.microsoft.com/office/drawing/2014/main" val="610872241"/>
                        </a:ext>
                      </a:extLst>
                    </a:gridCol>
                  </a:tblGrid>
                  <a:tr h="533400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121920" marR="121920" marT="60960" marB="60960" anchor="ctr">
                        <a:blipFill>
                          <a:blip r:embed="rId5"/>
                          <a:stretch>
                            <a:fillRect r="-877" b="-4261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2106528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07485284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6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90243137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9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57550699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225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779348756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8F123E2B-59C7-8A45-AEAB-128F1142E551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10449263" y="3007387"/>
              <a:ext cx="1526032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526032">
                      <a:extLst>
                        <a:ext uri="{9D8B030D-6E8A-4147-A177-3AD203B41FA5}">
                          <a16:colId xmlns:a16="http://schemas.microsoft.com/office/drawing/2014/main" val="3281354554"/>
                        </a:ext>
                      </a:extLst>
                    </a:gridCol>
                  </a:tblGrid>
                  <a:tr h="52832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270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US" sz="2700" i="1" dirty="0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 – 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en-US" sz="2700" dirty="0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2700" dirty="0"/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623991165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710137788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4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462729500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143414056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77303711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8F123E2B-59C7-8A45-AEAB-128F1142E551}"/>
                  </a:ext>
                </a:extLst>
              </p:cNvPr>
              <p:cNvGraphicFramePr>
                <a:graphicFrameLocks noGrp="1"/>
              </p:cNvGraphicFramePr>
              <p:nvPr>
                <p:extLst/>
              </p:nvPr>
            </p:nvGraphicFramePr>
            <p:xfrm>
              <a:off x="10449263" y="3007387"/>
              <a:ext cx="1526032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526032">
                      <a:extLst>
                        <a:ext uri="{9D8B030D-6E8A-4147-A177-3AD203B41FA5}">
                          <a16:colId xmlns:a16="http://schemas.microsoft.com/office/drawing/2014/main" val="3281354554"/>
                        </a:ext>
                      </a:extLst>
                    </a:gridCol>
                  </a:tblGrid>
                  <a:tr h="533400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121920" marR="121920" marT="60960" marB="60960" anchor="ctr">
                        <a:blipFill>
                          <a:blip r:embed="rId6"/>
                          <a:stretch>
                            <a:fillRect r="-1653" b="-4261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623991165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710137788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4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462729500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143414056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773037111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C4082-F395-CB4C-9D04-FD9DA11F3237}"/>
                  </a:ext>
                </a:extLst>
              </p:cNvPr>
              <p:cNvSpPr/>
              <p:nvPr/>
            </p:nvSpPr>
            <p:spPr>
              <a:xfrm>
                <a:off x="753260" y="5663774"/>
                <a:ext cx="4565533" cy="11235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MSE: </a:t>
                </a: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31250</a:t>
                </a: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RMSE =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radPr>
                      <m:deg/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  <m:t>𝑀𝑆𝐸</m:t>
                        </m:r>
                      </m:e>
                    </m:rad>
                  </m:oMath>
                </a14:m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 =</a:t>
                </a: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 176</a:t>
                </a:r>
              </a:p>
            </p:txBody>
          </p:sp>
        </mc:Choice>
        <mc:Fallback xmlns="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C4082-F395-CB4C-9D04-FD9DA11F323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260" y="5663774"/>
                <a:ext cx="4565533" cy="1123577"/>
              </a:xfrm>
              <a:prstGeom prst="rect">
                <a:avLst/>
              </a:prstGeom>
              <a:blipFill>
                <a:blip r:embed="rId7"/>
                <a:stretch>
                  <a:fillRect t="-6667" b="-15556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FE43375-5654-7145-A094-1F3778B3286F}"/>
                  </a:ext>
                </a:extLst>
              </p:cNvPr>
              <p:cNvSpPr/>
              <p:nvPr/>
            </p:nvSpPr>
            <p:spPr>
              <a:xfrm>
                <a:off x="7298267" y="5663774"/>
                <a:ext cx="3924323" cy="11235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MSE: 150</a:t>
                </a:r>
              </a:p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RMSE =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radPr>
                      <m:deg/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  <m:t>𝑀𝑆𝐸</m:t>
                        </m:r>
                      </m:e>
                    </m:rad>
                    <m:r>
                      <a:rPr kumimoji="0" lang="ru-RU" sz="32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  <a:sym typeface="Calibri"/>
                      </a:rPr>
                      <m:t>=</m:t>
                    </m:r>
                  </m:oMath>
                </a14:m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 12.2</a:t>
                </a: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FE43375-5654-7145-A094-1F3778B3286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8267" y="5663774"/>
                <a:ext cx="3924323" cy="1123577"/>
              </a:xfrm>
              <a:prstGeom prst="rect">
                <a:avLst/>
              </a:prstGeom>
              <a:blipFill>
                <a:blip r:embed="rId8"/>
                <a:stretch>
                  <a:fillRect l="-2903" t="-6667" r="-2903" b="-15556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Alternate Process 11">
            <a:extLst>
              <a:ext uri="{FF2B5EF4-FFF2-40B4-BE49-F238E27FC236}">
                <a16:creationId xmlns:a16="http://schemas.microsoft.com/office/drawing/2014/main" id="{05B62EFD-7B23-3D42-9913-A2847426E0CA}"/>
              </a:ext>
            </a:extLst>
          </p:cNvPr>
          <p:cNvSpPr/>
          <p:nvPr/>
        </p:nvSpPr>
        <p:spPr>
          <a:xfrm>
            <a:off x="6112482" y="2116668"/>
            <a:ext cx="5947479" cy="4701353"/>
          </a:xfrm>
          <a:prstGeom prst="flowChartAlternateProcess">
            <a:avLst/>
          </a:prstGeom>
          <a:noFill/>
          <a:ln w="53975">
            <a:solidFill>
              <a:srgbClr val="FFC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89731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10" grpId="0"/>
      <p:bldP spid="11" grpId="0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" name="Shape 427"/>
          <p:cNvSpPr>
            <a:spLocks noGrp="1"/>
          </p:cNvSpPr>
          <p:nvPr>
            <p:ph idx="1"/>
          </p:nvPr>
        </p:nvSpPr>
        <p:spPr>
          <a:xfrm>
            <a:off x="236517" y="1187532"/>
            <a:ext cx="6274264" cy="5423067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Суд</a:t>
            </a:r>
            <a:r>
              <a:rPr dirty="0"/>
              <a:t>: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против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, 1949</a:t>
            </a:r>
          </a:p>
          <a:p>
            <a:r>
              <a:rPr dirty="0" err="1"/>
              <a:t>Миссис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родила</a:t>
            </a:r>
            <a:r>
              <a:rPr dirty="0"/>
              <a:t> </a:t>
            </a:r>
            <a:r>
              <a:rPr dirty="0" err="1"/>
              <a:t>ребёнка</a:t>
            </a:r>
            <a:r>
              <a:rPr dirty="0"/>
              <a:t> </a:t>
            </a:r>
            <a:r>
              <a:rPr dirty="0" err="1"/>
              <a:t>через</a:t>
            </a:r>
            <a:r>
              <a:rPr dirty="0"/>
              <a:t> 349 </a:t>
            </a:r>
            <a:r>
              <a:rPr dirty="0" err="1"/>
              <a:t>дней</a:t>
            </a:r>
            <a:r>
              <a:rPr dirty="0"/>
              <a:t> </a:t>
            </a:r>
            <a:r>
              <a:rPr dirty="0" err="1"/>
              <a:t>после</a:t>
            </a:r>
            <a:r>
              <a:rPr dirty="0"/>
              <a:t> </a:t>
            </a:r>
            <a:r>
              <a:rPr dirty="0" err="1"/>
              <a:t>того</a:t>
            </a:r>
            <a:r>
              <a:rPr dirty="0"/>
              <a:t>, </a:t>
            </a:r>
            <a:r>
              <a:rPr dirty="0" err="1"/>
              <a:t>как</a:t>
            </a:r>
            <a:r>
              <a:rPr dirty="0"/>
              <a:t> </a:t>
            </a:r>
            <a:r>
              <a:rPr dirty="0" err="1"/>
              <a:t>мистер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уехал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военную</a:t>
            </a:r>
            <a:r>
              <a:rPr dirty="0"/>
              <a:t> </a:t>
            </a:r>
            <a:r>
              <a:rPr dirty="0" err="1"/>
              <a:t>службу</a:t>
            </a:r>
            <a:endParaRPr dirty="0"/>
          </a:p>
          <a:p>
            <a:r>
              <a:rPr dirty="0" err="1"/>
              <a:t>Что</a:t>
            </a:r>
            <a:r>
              <a:rPr dirty="0"/>
              <a:t> </a:t>
            </a:r>
            <a:r>
              <a:rPr dirty="0" err="1"/>
              <a:t>здесь</a:t>
            </a:r>
            <a:r>
              <a:rPr dirty="0"/>
              <a:t> </a:t>
            </a:r>
            <a:r>
              <a:rPr dirty="0" err="1"/>
              <a:t>не</a:t>
            </a:r>
            <a:r>
              <a:rPr dirty="0"/>
              <a:t> </a:t>
            </a:r>
            <a:r>
              <a:rPr dirty="0" err="1"/>
              <a:t>так</a:t>
            </a:r>
            <a:r>
              <a:rPr dirty="0"/>
              <a:t>? </a:t>
            </a:r>
            <a:r>
              <a:rPr dirty="0" err="1"/>
              <a:t>Как</a:t>
            </a:r>
            <a:r>
              <a:rPr dirty="0"/>
              <a:t> </a:t>
            </a:r>
            <a:r>
              <a:rPr dirty="0" err="1"/>
              <a:t>это</a:t>
            </a:r>
            <a:r>
              <a:rPr dirty="0"/>
              <a:t> </a:t>
            </a:r>
            <a:r>
              <a:rPr dirty="0" err="1"/>
              <a:t>доказать</a:t>
            </a:r>
            <a:r>
              <a:rPr dirty="0"/>
              <a:t>?</a:t>
            </a:r>
          </a:p>
        </p:txBody>
      </p:sp>
      <p:sp>
        <p:nvSpPr>
          <p:cNvPr id="428" name="Shape 428"/>
          <p:cNvSpPr>
            <a:spLocks noGrp="1"/>
          </p:cNvSpPr>
          <p:nvPr>
            <p:ph type="sldNum" sz="quarter" idx="12"/>
          </p:nvPr>
        </p:nvSpPr>
        <p:spPr>
          <a:xfrm>
            <a:off x="11864260" y="6487043"/>
            <a:ext cx="300721" cy="338554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29" name="Shape 42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>
            <a:lvl1pPr defTabSz="813816">
              <a:defRPr sz="1958"/>
            </a:lvl1pPr>
          </a:lstStyle>
          <a:p>
            <a:pPr defTabSz="1219170"/>
            <a:r>
              <a:rPr lang="ru-RU" sz="3733" dirty="0"/>
              <a:t>Нормальное распределение</a:t>
            </a:r>
            <a:endParaRPr sz="3733" dirty="0"/>
          </a:p>
        </p:txBody>
      </p:sp>
    </p:spTree>
    <p:extLst>
      <p:ext uri="{BB962C8B-B14F-4D97-AF65-F5344CB8AC3E}">
        <p14:creationId xmlns:p14="http://schemas.microsoft.com/office/powerpoint/2010/main" val="9698951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9053096-FF8D-0C45-9E86-4F16840671F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b="1" dirty="0"/>
                  <a:t>Эксперт</a:t>
                </a:r>
                <a:r>
                  <a:rPr lang="ru-RU" dirty="0"/>
                  <a:t> придумывает признаки (столбцы)</a:t>
                </a:r>
              </a:p>
              <a:p>
                <a:r>
                  <a:rPr lang="ru-RU" b="1" dirty="0"/>
                  <a:t>Эксперт</a:t>
                </a:r>
                <a:r>
                  <a:rPr lang="ru-RU" dirty="0"/>
                  <a:t> придумывает вид формулы (задает класс моделей)</a:t>
                </a:r>
              </a:p>
              <a:p>
                <a:pPr lvl="1"/>
                <a:r>
                  <a:rPr lang="ru-RU" dirty="0"/>
                  <a:t>Например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endParaRPr lang="ru-RU" dirty="0"/>
              </a:p>
              <a:p>
                <a:r>
                  <a:rPr lang="ru-RU" b="1" dirty="0"/>
                  <a:t>Компьютер</a:t>
                </a:r>
                <a:r>
                  <a:rPr lang="ru-RU" dirty="0"/>
                  <a:t> подбирает параметры формулы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u-RU" dirty="0"/>
                  <a:t>из примера) так, чтобы ошибка на обучающей выборка была как можно меньше</a:t>
                </a:r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9053096-FF8D-0C45-9E86-4F16840671F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5E863DA9-66DA-CC4B-BDD1-D42EF59BC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роисходит обучение</a:t>
            </a:r>
          </a:p>
        </p:txBody>
      </p:sp>
    </p:spTree>
    <p:extLst>
      <p:ext uri="{BB962C8B-B14F-4D97-AF65-F5344CB8AC3E}">
        <p14:creationId xmlns:p14="http://schemas.microsoft.com/office/powerpoint/2010/main" val="15498437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Схема работы машинного обучения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>
            <a:off x="1383891" y="1409541"/>
            <a:ext cx="2561044" cy="10590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Обучающая выборка</a:t>
            </a:r>
          </a:p>
        </p:txBody>
      </p:sp>
      <p:sp>
        <p:nvSpPr>
          <p:cNvPr id="6" name="Rectangle 4"/>
          <p:cNvSpPr/>
          <p:nvPr/>
        </p:nvSpPr>
        <p:spPr>
          <a:xfrm>
            <a:off x="4792133" y="1413738"/>
            <a:ext cx="2363587" cy="10590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Извлечение признаков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" name="Rectangle 5"/>
          <p:cNvSpPr/>
          <p:nvPr/>
        </p:nvSpPr>
        <p:spPr>
          <a:xfrm>
            <a:off x="7981950" y="1409541"/>
            <a:ext cx="2113261" cy="10268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Обучение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алгоритма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6"/>
              <p:cNvSpPr/>
              <p:nvPr/>
            </p:nvSpPr>
            <p:spPr>
              <a:xfrm>
                <a:off x="7981949" y="4413688"/>
                <a:ext cx="2113263" cy="833457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𝑎</m:t>
                      </m:r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(</m:t>
                      </m:r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𝑥</m:t>
                      </m:r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)</m:t>
                      </m:r>
                    </m:oMath>
                  </m:oMathPara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</p:txBody>
          </p:sp>
        </mc:Choice>
        <mc:Fallback xmlns="">
          <p:sp>
            <p:nvSpPr>
              <p:cNvPr id="8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81949" y="4413688"/>
                <a:ext cx="2113263" cy="83345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Rectangle 7"/>
          <p:cNvSpPr/>
          <p:nvPr/>
        </p:nvSpPr>
        <p:spPr>
          <a:xfrm>
            <a:off x="2552526" y="4572989"/>
            <a:ext cx="2898689" cy="72867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Новый объект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0" name="Rectangle 8"/>
          <p:cNvSpPr/>
          <p:nvPr/>
        </p:nvSpPr>
        <p:spPr>
          <a:xfrm>
            <a:off x="7687087" y="6023180"/>
            <a:ext cx="2702984" cy="63958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Предсказание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1" name="Right Arrow 9"/>
          <p:cNvSpPr/>
          <p:nvPr/>
        </p:nvSpPr>
        <p:spPr>
          <a:xfrm>
            <a:off x="4031889" y="1787612"/>
            <a:ext cx="652323" cy="328731"/>
          </a:xfrm>
          <a:prstGeom prst="right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2" name="Right Arrow 10"/>
          <p:cNvSpPr/>
          <p:nvPr/>
        </p:nvSpPr>
        <p:spPr>
          <a:xfrm>
            <a:off x="7242673" y="1807048"/>
            <a:ext cx="652323" cy="328731"/>
          </a:xfrm>
          <a:prstGeom prst="right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3" name="Down Arrow 11"/>
          <p:cNvSpPr/>
          <p:nvPr/>
        </p:nvSpPr>
        <p:spPr>
          <a:xfrm>
            <a:off x="8799784" y="2492665"/>
            <a:ext cx="477595" cy="269547"/>
          </a:xfrm>
          <a:prstGeom prst="down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4" name="Right Arrow 12"/>
          <p:cNvSpPr/>
          <p:nvPr/>
        </p:nvSpPr>
        <p:spPr>
          <a:xfrm>
            <a:off x="5694730" y="4721091"/>
            <a:ext cx="2166644" cy="414707"/>
          </a:xfrm>
          <a:prstGeom prst="right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5" name="Down Arrow 13"/>
          <p:cNvSpPr/>
          <p:nvPr/>
        </p:nvSpPr>
        <p:spPr>
          <a:xfrm>
            <a:off x="8799784" y="5349394"/>
            <a:ext cx="477595" cy="516093"/>
          </a:xfrm>
          <a:prstGeom prst="down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7" name="Rectangle 5"/>
          <p:cNvSpPr/>
          <p:nvPr/>
        </p:nvSpPr>
        <p:spPr>
          <a:xfrm>
            <a:off x="7912805" y="2840257"/>
            <a:ext cx="2251547" cy="105235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Валидация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алгоритма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8" name="Down Arrow 11"/>
          <p:cNvSpPr/>
          <p:nvPr/>
        </p:nvSpPr>
        <p:spPr>
          <a:xfrm>
            <a:off x="8799781" y="3996122"/>
            <a:ext cx="477595" cy="343817"/>
          </a:xfrm>
          <a:prstGeom prst="down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03229" y="2394981"/>
            <a:ext cx="32568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Тысячи объектов</a:t>
            </a: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39113" y="5384638"/>
            <a:ext cx="44644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Сотни тысяч объектов</a:t>
            </a: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22" name="Alternate Process 21">
            <a:extLst>
              <a:ext uri="{FF2B5EF4-FFF2-40B4-BE49-F238E27FC236}">
                <a16:creationId xmlns:a16="http://schemas.microsoft.com/office/drawing/2014/main" id="{7E9E6D90-9018-8246-9476-2C49DDD557BB}"/>
              </a:ext>
            </a:extLst>
          </p:cNvPr>
          <p:cNvSpPr/>
          <p:nvPr/>
        </p:nvSpPr>
        <p:spPr>
          <a:xfrm>
            <a:off x="801486" y="1219200"/>
            <a:ext cx="6697429" cy="1791333"/>
          </a:xfrm>
          <a:prstGeom prst="flowChartAlternateProcess">
            <a:avLst/>
          </a:prstGeom>
          <a:noFill/>
          <a:ln w="53975">
            <a:solidFill>
              <a:srgbClr val="FFC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9042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D2065F0-C233-3946-AB4F-AA011312ABDC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341DD4B-899C-8746-BA91-A81F63B67A8A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4A1303E3-35EF-5C48-8C9F-4F426F3A44D8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F1DB219-42B2-8B45-B343-E93EC43C4276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FE330B7F-8AF0-9043-AFD5-C4A70C02148F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08BB3264-3510-8348-86B3-A2B756EA1F66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54C9C6D4-1E14-ED42-8EB1-F246389181BC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0E6FF1EB-EAB5-7047-8559-635682CC0646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90536D69-84BB-0A43-8D00-E97A9E216378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E86FA48-E22B-2347-9B37-BAC45A91C9FA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</p:spTree>
    <p:extLst>
      <p:ext uri="{BB962C8B-B14F-4D97-AF65-F5344CB8AC3E}">
        <p14:creationId xmlns:p14="http://schemas.microsoft.com/office/powerpoint/2010/main" val="4126210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5FAF62D-E253-2345-9BB4-C02AAD14FA98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DD81770-98CD-BA47-BF00-D4FA877CE1F3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9CCB490-46F4-0A4F-82F4-12CEF20DBBF6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36F1145-163E-294B-857C-98DC6B32A325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94991FF3-A5BC-C84E-B4E6-C2891790A353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2183313E-8823-9A48-AA55-CD67E096AE54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D8A7A91-BEBF-7F46-BD47-036D82FBBADF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0F5E1992-9D83-854E-B57A-630FA90661DD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680C060D-84B4-1F45-91FD-2F65F4235990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2FD0C1A-73D6-964B-A7E9-3941C09E2B2E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4E72BB4A-25F2-934F-B3BD-0B9FC12A973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26" name="Picture 2" descr="😢 Tear Emoji Meaning with Pictures: from A to Z">
            <a:extLst>
              <a:ext uri="{FF2B5EF4-FFF2-40B4-BE49-F238E27FC236}">
                <a16:creationId xmlns:a16="http://schemas.microsoft.com/office/drawing/2014/main" id="{8DDFC88E-1B75-1A45-9838-B8761F516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520" y="2695026"/>
            <a:ext cx="1456559" cy="1456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1149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5FAF62D-E253-2345-9BB4-C02AAD14FA98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DD81770-98CD-BA47-BF00-D4FA877CE1F3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9CCB490-46F4-0A4F-82F4-12CEF20DBBF6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36F1145-163E-294B-857C-98DC6B32A325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94991FF3-A5BC-C84E-B4E6-C2891790A353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2183313E-8823-9A48-AA55-CD67E096AE54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D8A7A91-BEBF-7F46-BD47-036D82FBBADF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0F5E1992-9D83-854E-B57A-630FA90661DD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680C060D-84B4-1F45-91FD-2F65F4235990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2FD0C1A-73D6-964B-A7E9-3941C09E2B2E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4E72BB4A-25F2-934F-B3BD-0B9FC12A973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26" name="Picture 2" descr="😢 Tear Emoji Meaning with Pictures: from A to Z">
            <a:extLst>
              <a:ext uri="{FF2B5EF4-FFF2-40B4-BE49-F238E27FC236}">
                <a16:creationId xmlns:a16="http://schemas.microsoft.com/office/drawing/2014/main" id="{8DDFC88E-1B75-1A45-9838-B8761F516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520" y="2695026"/>
            <a:ext cx="1456559" cy="1456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2D6B95-154C-2E40-A2A3-8CD0A2303648}"/>
              </a:ext>
            </a:extLst>
          </p:cNvPr>
          <p:cNvCxnSpPr/>
          <p:nvPr/>
        </p:nvCxnSpPr>
        <p:spPr>
          <a:xfrm flipH="1">
            <a:off x="11353799" y="4151585"/>
            <a:ext cx="1" cy="11246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1052D6B-B383-9E4E-9035-84932ADC5B84}"/>
              </a:ext>
            </a:extLst>
          </p:cNvPr>
          <p:cNvCxnSpPr>
            <a:cxnSpLocks/>
          </p:cNvCxnSpPr>
          <p:nvPr/>
        </p:nvCxnSpPr>
        <p:spPr>
          <a:xfrm>
            <a:off x="3791388" y="5276193"/>
            <a:ext cx="75624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07EDB23-E4B0-F94C-BF37-01A95E22B820}"/>
              </a:ext>
            </a:extLst>
          </p:cNvPr>
          <p:cNvCxnSpPr>
            <a:cxnSpLocks/>
          </p:cNvCxnSpPr>
          <p:nvPr/>
        </p:nvCxnSpPr>
        <p:spPr>
          <a:xfrm flipH="1" flipV="1">
            <a:off x="3767958" y="4151585"/>
            <a:ext cx="23430" cy="112460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C4308DF-58C6-AF4F-A9F1-2D774BD96BD4}"/>
              </a:ext>
            </a:extLst>
          </p:cNvPr>
          <p:cNvSpPr txBox="1"/>
          <p:nvPr/>
        </p:nvSpPr>
        <p:spPr>
          <a:xfrm>
            <a:off x="6433933" y="5339305"/>
            <a:ext cx="2520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одкрутить параметры!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2920180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F26E77E-E2CB-E743-AF3A-896426CFD4A0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1ECA52B-55E4-4248-A2A5-6D77EDB9F735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FA7FAE6-DCAB-1E46-A027-FE9FE3B80C61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B850277F-A5A1-0448-81A9-132BE2F00978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AA18AECB-FA29-9343-8DA0-CF31D5C2A289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6" name="Right Arrow 35">
            <a:extLst>
              <a:ext uri="{FF2B5EF4-FFF2-40B4-BE49-F238E27FC236}">
                <a16:creationId xmlns:a16="http://schemas.microsoft.com/office/drawing/2014/main" id="{D1A09F06-FC3F-144D-85AB-708E7AECC935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64B934C-A187-4F4F-BA17-46C82F3F2ACC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FDAEAAEE-3DBF-EB4D-B750-17A20576B5EB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71B8D7DC-D1C9-EA4F-92B1-D2DC14228F4E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AE6FDF8-F467-8046-98C2-D25238CE0E41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41" name="Right Arrow 40">
            <a:extLst>
              <a:ext uri="{FF2B5EF4-FFF2-40B4-BE49-F238E27FC236}">
                <a16:creationId xmlns:a16="http://schemas.microsoft.com/office/drawing/2014/main" id="{E65EB039-2817-6845-BD75-41FCE9D3F90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F8BEB75-F8EC-E146-94E4-0E8710EF037B}"/>
              </a:ext>
            </a:extLst>
          </p:cNvPr>
          <p:cNvCxnSpPr/>
          <p:nvPr/>
        </p:nvCxnSpPr>
        <p:spPr>
          <a:xfrm flipH="1">
            <a:off x="11353799" y="4151585"/>
            <a:ext cx="1" cy="11246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C1894F3-19E2-8E4F-AD78-6C56731CC5E4}"/>
              </a:ext>
            </a:extLst>
          </p:cNvPr>
          <p:cNvCxnSpPr>
            <a:cxnSpLocks/>
          </p:cNvCxnSpPr>
          <p:nvPr/>
        </p:nvCxnSpPr>
        <p:spPr>
          <a:xfrm>
            <a:off x="3791388" y="5276193"/>
            <a:ext cx="75624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33847CB-8426-EC4F-842D-C44250751151}"/>
              </a:ext>
            </a:extLst>
          </p:cNvPr>
          <p:cNvCxnSpPr>
            <a:cxnSpLocks/>
            <a:endCxn id="31" idx="2"/>
          </p:cNvCxnSpPr>
          <p:nvPr/>
        </p:nvCxnSpPr>
        <p:spPr>
          <a:xfrm flipH="1" flipV="1">
            <a:off x="3767958" y="4151585"/>
            <a:ext cx="23430" cy="112460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8DF94CF-D546-7342-B698-B99A39BEE6A8}"/>
              </a:ext>
            </a:extLst>
          </p:cNvPr>
          <p:cNvSpPr txBox="1"/>
          <p:nvPr/>
        </p:nvSpPr>
        <p:spPr>
          <a:xfrm>
            <a:off x="6433933" y="5339305"/>
            <a:ext cx="14207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 так сойдёт</a:t>
            </a:r>
            <a:endParaRPr lang="en-RU" dirty="0"/>
          </a:p>
        </p:txBody>
      </p:sp>
      <p:pic>
        <p:nvPicPr>
          <p:cNvPr id="46" name="Picture 8" descr="😄 Download Grinning Face With Smiling Eyes Emoji by JoyPixels™">
            <a:extLst>
              <a:ext uri="{FF2B5EF4-FFF2-40B4-BE49-F238E27FC236}">
                <a16:creationId xmlns:a16="http://schemas.microsoft.com/office/drawing/2014/main" id="{F830C57A-A612-DA40-BC81-0AE76C783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08" y="2859349"/>
            <a:ext cx="1248182" cy="1248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40119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F26E77E-E2CB-E743-AF3A-896426CFD4A0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1ECA52B-55E4-4248-A2A5-6D77EDB9F735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FA7FAE6-DCAB-1E46-A027-FE9FE3B80C61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B850277F-A5A1-0448-81A9-132BE2F00978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AA18AECB-FA29-9343-8DA0-CF31D5C2A289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6" name="Right Arrow 35">
            <a:extLst>
              <a:ext uri="{FF2B5EF4-FFF2-40B4-BE49-F238E27FC236}">
                <a16:creationId xmlns:a16="http://schemas.microsoft.com/office/drawing/2014/main" id="{D1A09F06-FC3F-144D-85AB-708E7AECC935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64B934C-A187-4F4F-BA17-46C82F3F2ACC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FDAEAAEE-3DBF-EB4D-B750-17A20576B5EB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71B8D7DC-D1C9-EA4F-92B1-D2DC14228F4E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AE6FDF8-F467-8046-98C2-D25238CE0E41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41" name="Right Arrow 40">
            <a:extLst>
              <a:ext uri="{FF2B5EF4-FFF2-40B4-BE49-F238E27FC236}">
                <a16:creationId xmlns:a16="http://schemas.microsoft.com/office/drawing/2014/main" id="{E65EB039-2817-6845-BD75-41FCE9D3F90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F8BEB75-F8EC-E146-94E4-0E8710EF037B}"/>
              </a:ext>
            </a:extLst>
          </p:cNvPr>
          <p:cNvCxnSpPr/>
          <p:nvPr/>
        </p:nvCxnSpPr>
        <p:spPr>
          <a:xfrm flipH="1">
            <a:off x="11353799" y="4151585"/>
            <a:ext cx="1" cy="11246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C1894F3-19E2-8E4F-AD78-6C56731CC5E4}"/>
              </a:ext>
            </a:extLst>
          </p:cNvPr>
          <p:cNvCxnSpPr>
            <a:cxnSpLocks/>
          </p:cNvCxnSpPr>
          <p:nvPr/>
        </p:nvCxnSpPr>
        <p:spPr>
          <a:xfrm>
            <a:off x="3791388" y="5276193"/>
            <a:ext cx="75624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33847CB-8426-EC4F-842D-C44250751151}"/>
              </a:ext>
            </a:extLst>
          </p:cNvPr>
          <p:cNvCxnSpPr>
            <a:cxnSpLocks/>
            <a:endCxn id="31" idx="2"/>
          </p:cNvCxnSpPr>
          <p:nvPr/>
        </p:nvCxnSpPr>
        <p:spPr>
          <a:xfrm flipH="1" flipV="1">
            <a:off x="3767958" y="4151585"/>
            <a:ext cx="23430" cy="112460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8" descr="😄 Download Grinning Face With Smiling Eyes Emoji by JoyPixels™">
            <a:extLst>
              <a:ext uri="{FF2B5EF4-FFF2-40B4-BE49-F238E27FC236}">
                <a16:creationId xmlns:a16="http://schemas.microsoft.com/office/drawing/2014/main" id="{F830C57A-A612-DA40-BC81-0AE76C783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08" y="2859349"/>
            <a:ext cx="1248182" cy="1248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02FF930-1F8D-FE44-97E0-0DF547EBF743}"/>
              </a:ext>
            </a:extLst>
          </p:cNvPr>
          <p:cNvSpPr txBox="1"/>
          <p:nvPr/>
        </p:nvSpPr>
        <p:spPr>
          <a:xfrm>
            <a:off x="3415643" y="5661739"/>
            <a:ext cx="5360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По очереди проделываем для всей выборки, пока ошибка уменьшается</a:t>
            </a:r>
            <a:endParaRPr lang="en-RU" sz="2400" dirty="0"/>
          </a:p>
        </p:txBody>
      </p:sp>
    </p:spTree>
    <p:extLst>
      <p:ext uri="{BB962C8B-B14F-4D97-AF65-F5344CB8AC3E}">
        <p14:creationId xmlns:p14="http://schemas.microsoft.com/office/powerpoint/2010/main" val="18054658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029BC-1B16-F343-8C49-93186DAA2F9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19825" y="2485747"/>
            <a:ext cx="7493000" cy="1934633"/>
          </a:xfrm>
        </p:spPr>
        <p:txBody>
          <a:bodyPr anchor="ctr">
            <a:normAutofit/>
          </a:bodyPr>
          <a:lstStyle/>
          <a:p>
            <a:r>
              <a:rPr lang="ru-RU" sz="6133" dirty="0"/>
              <a:t>Регрессия</a:t>
            </a:r>
            <a:endParaRPr lang="en-AU" sz="6133" dirty="0"/>
          </a:p>
        </p:txBody>
      </p:sp>
    </p:spTree>
    <p:extLst>
      <p:ext uri="{BB962C8B-B14F-4D97-AF65-F5344CB8AC3E}">
        <p14:creationId xmlns:p14="http://schemas.microsoft.com/office/powerpoint/2010/main" val="24179873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 descr="/Users/zian/Library/Group Containers/UBF8T346G9.Office/msoclip1/01/6AAAA39C-7D75-814C-8511-7EC05142413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36181" y="1949450"/>
            <a:ext cx="4686300" cy="370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28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регрессии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43823" y="2374900"/>
          <a:ext cx="1538932" cy="304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72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13841" r="323" b="19090"/>
          <a:stretch/>
        </p:blipFill>
        <p:spPr>
          <a:xfrm rot="19499842" flipV="1">
            <a:off x="3978417" y="3373768"/>
            <a:ext cx="5190608" cy="16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08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1" name="Picture 1" descr="/Users/zian/Library/Group Containers/UBF8T346G9.Office/msoclip1/01/6F8BDD49-E571-2E43-81DF-DEA11EBE5BFA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29831" y="1949450"/>
            <a:ext cx="4699000" cy="370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29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регресс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743823" y="2374900"/>
          <a:ext cx="1538932" cy="304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72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2842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Shape 431"/>
          <p:cNvSpPr>
            <a:spLocks noGrp="1"/>
          </p:cNvSpPr>
          <p:nvPr>
            <p:ph idx="1"/>
          </p:nvPr>
        </p:nvSpPr>
        <p:spPr>
          <a:xfrm>
            <a:off x="236517" y="1187532"/>
            <a:ext cx="6274264" cy="5423067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Суд</a:t>
            </a:r>
            <a:r>
              <a:rPr dirty="0"/>
              <a:t>: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против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, 1949</a:t>
            </a:r>
          </a:p>
          <a:p>
            <a:r>
              <a:rPr dirty="0" err="1"/>
              <a:t>Миссис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родила</a:t>
            </a:r>
            <a:r>
              <a:rPr dirty="0"/>
              <a:t> </a:t>
            </a:r>
            <a:r>
              <a:rPr dirty="0" err="1"/>
              <a:t>ребёнка</a:t>
            </a:r>
            <a:r>
              <a:rPr dirty="0"/>
              <a:t> </a:t>
            </a:r>
            <a:r>
              <a:rPr dirty="0" err="1"/>
              <a:t>через</a:t>
            </a:r>
            <a:r>
              <a:rPr dirty="0"/>
              <a:t> 349 </a:t>
            </a:r>
            <a:r>
              <a:rPr dirty="0" err="1"/>
              <a:t>дней</a:t>
            </a:r>
            <a:r>
              <a:rPr dirty="0"/>
              <a:t> </a:t>
            </a:r>
            <a:r>
              <a:rPr dirty="0" err="1"/>
              <a:t>после</a:t>
            </a:r>
            <a:r>
              <a:rPr dirty="0"/>
              <a:t> </a:t>
            </a:r>
            <a:r>
              <a:rPr dirty="0" err="1"/>
              <a:t>того</a:t>
            </a:r>
            <a:r>
              <a:rPr dirty="0"/>
              <a:t>, </a:t>
            </a:r>
            <a:r>
              <a:rPr dirty="0" err="1"/>
              <a:t>как</a:t>
            </a:r>
            <a:r>
              <a:rPr dirty="0"/>
              <a:t> </a:t>
            </a:r>
            <a:r>
              <a:rPr dirty="0" err="1"/>
              <a:t>мистер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уехал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военную</a:t>
            </a:r>
            <a:r>
              <a:rPr dirty="0"/>
              <a:t> </a:t>
            </a:r>
            <a:r>
              <a:rPr dirty="0" err="1"/>
              <a:t>службу</a:t>
            </a:r>
            <a:endParaRPr dirty="0"/>
          </a:p>
          <a:p>
            <a:r>
              <a:rPr dirty="0" err="1"/>
              <a:t>Средний</a:t>
            </a:r>
            <a:r>
              <a:rPr dirty="0"/>
              <a:t> </a:t>
            </a:r>
            <a:r>
              <a:rPr dirty="0" err="1"/>
              <a:t>срок</a:t>
            </a:r>
            <a:r>
              <a:rPr dirty="0"/>
              <a:t> </a:t>
            </a:r>
            <a:r>
              <a:rPr dirty="0" err="1"/>
              <a:t>беременности</a:t>
            </a:r>
            <a:r>
              <a:rPr dirty="0"/>
              <a:t> — 280 </a:t>
            </a:r>
            <a:r>
              <a:rPr dirty="0" err="1"/>
              <a:t>дней</a:t>
            </a:r>
            <a:r>
              <a:rPr lang="ru-RU" dirty="0"/>
              <a:t> (40 недель)</a:t>
            </a:r>
          </a:p>
          <a:p>
            <a:r>
              <a:rPr lang="en-US" dirty="0"/>
              <a:t>Preston-Jones v. Preston-Jones (1951)</a:t>
            </a:r>
            <a:r>
              <a:rPr lang="ru-RU" dirty="0"/>
              <a:t>: 360 дней</a:t>
            </a:r>
            <a:endParaRPr dirty="0"/>
          </a:p>
        </p:txBody>
      </p:sp>
      <p:sp>
        <p:nvSpPr>
          <p:cNvPr id="433" name="Shape 43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>
            <a:lvl1pPr defTabSz="813816">
              <a:defRPr sz="1958"/>
            </a:lvl1pPr>
          </a:lstStyle>
          <a:p>
            <a:pPr defTabSz="1219170"/>
            <a:r>
              <a:rPr lang="ru-RU" sz="3733" dirty="0"/>
              <a:t>Нормальное распределение</a:t>
            </a:r>
            <a:endParaRPr sz="3733" dirty="0"/>
          </a:p>
        </p:txBody>
      </p:sp>
      <p:pic>
        <p:nvPicPr>
          <p:cNvPr id="434" name="image28.t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0779" y="1813346"/>
            <a:ext cx="5412047" cy="4171439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4D59E01-2127-7415-B018-E493E008E287}"/>
              </a:ext>
            </a:extLst>
          </p:cNvPr>
          <p:cNvSpPr txBox="1"/>
          <p:nvPr/>
        </p:nvSpPr>
        <p:spPr>
          <a:xfrm>
            <a:off x="6838326" y="6210925"/>
            <a:ext cx="43391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s://www.jstor.org/stable/2347159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58839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1" name="Picture 3" descr="/Users/zian/Library/Group Containers/UBF8T346G9.Office/msoclip1/01/3D0FE707-1E81-9944-ADCB-57056EBEF1B2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29831" y="1949450"/>
            <a:ext cx="4699000" cy="370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0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регресс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743823" y="2374900"/>
          <a:ext cx="1538932" cy="304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72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89930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B3A57BD6-71FE-407A-A1B7-9E4112267E3D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1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2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/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3" name="Rectangl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3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8" name="Left Brace 7"/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6169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3CC1F6-AFC7-E745-A84B-62838792C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2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2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/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3" name="Rectangl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3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8" name="Left Brace 7"/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  <a:ln>
            <a:solidFill>
              <a:srgbClr val="FFC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4086455" y="2445107"/>
            <a:ext cx="585216" cy="5689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24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4493270" y="3014067"/>
            <a:ext cx="419695" cy="56122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71738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71645F-874C-044D-B7EB-E92973B4E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3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12" name="Oval 11"/>
          <p:cNvSpPr/>
          <p:nvPr/>
        </p:nvSpPr>
        <p:spPr>
          <a:xfrm>
            <a:off x="4611133" y="3253835"/>
            <a:ext cx="585216" cy="5689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24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5017948" y="3822795"/>
            <a:ext cx="561443" cy="40824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CF4C29E-8CAD-AD43-8193-392C44A03239}"/>
                  </a:ext>
                </a:extLst>
              </p:cNvPr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CF4C29E-8CAD-AD43-8193-392C44A032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6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E7EEA37-D2ED-DA44-8BD1-9A8E29185835}"/>
                  </a:ext>
                </a:extLst>
              </p:cNvPr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E7EEA37-D2ED-DA44-8BD1-9A8E2918583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7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Left Brace 16">
            <a:extLst>
              <a:ext uri="{FF2B5EF4-FFF2-40B4-BE49-F238E27FC236}">
                <a16:creationId xmlns:a16="http://schemas.microsoft.com/office/drawing/2014/main" id="{54CF3670-003F-004C-88D4-2030CC58793B}"/>
              </a:ext>
            </a:extLst>
          </p:cNvPr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  <a:ln>
            <a:solidFill>
              <a:srgbClr val="FFC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340BA17-4ED9-C242-8F76-2BB61053871D}"/>
              </a:ext>
            </a:extLst>
          </p:cNvPr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8687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86C48-7AD3-9A45-A884-F588F3912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4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12" name="Oval 11"/>
          <p:cNvSpPr/>
          <p:nvPr/>
        </p:nvSpPr>
        <p:spPr>
          <a:xfrm>
            <a:off x="5585653" y="3879553"/>
            <a:ext cx="585216" cy="5689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24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23461" y="2318364"/>
            <a:ext cx="36308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Градиентный спуск</a:t>
            </a:r>
            <a:r>
              <a:rPr lang="ru-RU" sz="2400" kern="0" dirty="0">
                <a:latin typeface="Calibri"/>
                <a:cs typeface="Calibri"/>
                <a:sym typeface="Calibri"/>
              </a:rPr>
              <a:t> - как будто катится мячик по поверхности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7D2ED37-CB74-4D48-92EE-9CA74842ED82}"/>
                  </a:ext>
                </a:extLst>
              </p:cNvPr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7D2ED37-CB74-4D48-92EE-9CA74842ED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6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1F9CD73-C125-A14A-B168-736DE71064B9}"/>
                  </a:ext>
                </a:extLst>
              </p:cNvPr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1F9CD73-C125-A14A-B168-736DE71064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7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Left Brace 15">
            <a:extLst>
              <a:ext uri="{FF2B5EF4-FFF2-40B4-BE49-F238E27FC236}">
                <a16:creationId xmlns:a16="http://schemas.microsoft.com/office/drawing/2014/main" id="{689EE438-4E01-6044-9CB8-84750939B411}"/>
              </a:ext>
            </a:extLst>
          </p:cNvPr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  <a:ln>
            <a:solidFill>
              <a:srgbClr val="FFC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3A9795-24A5-6B42-89C5-40715392EEFE}"/>
              </a:ext>
            </a:extLst>
          </p:cNvPr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2579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F4D8D-B478-E440-B15F-F140914DE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6577F678-53B0-514E-90B2-A89CA67A67A1}" type="slidenum">
              <a:rPr lang="en-US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5</a:t>
            </a:fld>
            <a:endParaRPr lang="en-US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>
                <a:normAutofit fontScale="90000"/>
              </a:bodyPr>
              <a:lstStyle/>
              <a:p>
                <a:r>
                  <a:rPr lang="ru-RU" dirty="0"/>
                  <a:t>Величина шага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3"/>
                <a:stretch>
                  <a:fillRect l="-1739" t="-26531" b="-4489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20" y="1365875"/>
            <a:ext cx="6020459" cy="451534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370391" y="6356351"/>
            <a:ext cx="41841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en-US" sz="1200" kern="0" dirty="0">
                <a:solidFill>
                  <a:schemeClr val="bg1"/>
                </a:solidFill>
                <a:latin typeface="Calibri"/>
                <a:cs typeface="Calibri"/>
                <a:sym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ackernoon.com/life-is-gradient-descent-880c60ac1be8</a:t>
            </a:r>
            <a:endParaRPr lang="en-US" sz="1200" kern="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" name="Объект 4">
            <a:extLst>
              <a:ext uri="{FF2B5EF4-FFF2-40B4-BE49-F238E27FC236}">
                <a16:creationId xmlns:a16="http://schemas.microsoft.com/office/drawing/2014/main" id="{EA656E9F-0EC9-90E2-9F1F-391108A486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58863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8778" y="1365875"/>
            <a:ext cx="5983223" cy="4487416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F4D8D-B478-E440-B15F-F140914DE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6577F678-53B0-514E-90B2-A89CA67A67A1}" type="slidenum">
              <a:rPr lang="en-US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6</a:t>
            </a:fld>
            <a:endParaRPr lang="en-US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>
                <a:normAutofit fontScale="90000"/>
              </a:bodyPr>
              <a:lstStyle/>
              <a:p>
                <a:r>
                  <a:rPr lang="ru-RU" dirty="0"/>
                  <a:t>Величина шага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3"/>
                <a:stretch>
                  <a:fillRect l="-1739" t="-26531" b="-4489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20" y="1365875"/>
            <a:ext cx="6020459" cy="451534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370391" y="6356351"/>
            <a:ext cx="41841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en-US" sz="1200" kern="0" dirty="0">
                <a:solidFill>
                  <a:schemeClr val="bg1"/>
                </a:solidFill>
                <a:latin typeface="Calibri"/>
                <a:cs typeface="Calibri"/>
                <a:sym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ackernoon.com/life-is-gradient-descent-880c60ac1be8</a:t>
            </a:r>
            <a:endParaRPr lang="en-US" sz="1200" kern="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67125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864259" y="6487044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86CB4B4D-7CA3-9044-876B-883B54F8677D}" type="slidenum">
              <a:rPr lang="uk-UA" kern="0">
                <a:latin typeface="Calibri"/>
                <a:cs typeface="Calibri"/>
                <a:sym typeface="Calibri"/>
              </a:rPr>
              <a:pPr defTabSz="914377" hangingPunct="0"/>
              <a:t>37</a:t>
            </a:fld>
            <a:endParaRPr lang="uk-UA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мо: линейная регрессия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64" y="1214329"/>
            <a:ext cx="12069717" cy="5029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84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8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классификац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4275" name="Picture 3" descr="/Users/zian/Library/Group Containers/UBF8T346G9.Office/msoclip1/01/FEC60B71-5E60-2C48-9163-32525284CB6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17" y="1208411"/>
            <a:ext cx="82296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177181" y="3810000"/>
            <a:ext cx="21852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 hangingPunct="0"/>
            <a:r>
              <a:rPr lang="ru-RU" sz="20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одель хорошая?</a:t>
            </a:r>
            <a:endParaRPr lang="en-US" sz="20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409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9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классификац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5297" name="Picture 1" descr="/Users/zian/Library/Group Containers/UBF8T346G9.Office/msoclip1/01/B405AD34-FEC5-9142-AD74-81F7BBC776C9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7925" y="1193800"/>
            <a:ext cx="72644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0503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Shape 262"/>
          <p:cNvSpPr>
            <a:spLocks noGrp="1"/>
          </p:cNvSpPr>
          <p:nvPr>
            <p:ph idx="1"/>
          </p:nvPr>
        </p:nvSpPr>
        <p:spPr>
          <a:xfrm>
            <a:off x="236516" y="1508371"/>
            <a:ext cx="10949225" cy="260003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1600"/>
            </a:pPr>
            <a:r>
              <a:rPr lang="ru-RU" sz="2800" dirty="0"/>
              <a:t>Известны характеристики квартир в Москве</a:t>
            </a:r>
          </a:p>
          <a:p>
            <a:pPr>
              <a:defRPr sz="1600"/>
            </a:pPr>
            <a:r>
              <a:rPr lang="ru-RU" sz="2800" dirty="0"/>
              <a:t>Как по характеристикам определить рыночную стоимость квартиры?</a:t>
            </a:r>
            <a:endParaRPr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6023446" y="8705816"/>
            <a:ext cx="196527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61" name="Shape 26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70"/>
            <a:r>
              <a:rPr sz="3400" dirty="0" err="1"/>
              <a:t>Пример</a:t>
            </a:r>
            <a:r>
              <a:rPr sz="3400" dirty="0"/>
              <a:t> </a:t>
            </a:r>
            <a:r>
              <a:rPr sz="3400" dirty="0" err="1"/>
              <a:t>задачи</a:t>
            </a:r>
            <a:endParaRPr sz="3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0EECA2-9D28-E040-97B2-640993B78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0977" y="3710262"/>
            <a:ext cx="4611187" cy="269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2957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40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Уверенность в предсказан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4275" name="Picture 3" descr="/Users/zian/Library/Group Containers/UBF8T346G9.Office/msoclip1/01/FEC60B71-5E60-2C48-9163-32525284CB6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17" y="1208411"/>
            <a:ext cx="82296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 rot="1301661">
            <a:off x="5993801" y="1287222"/>
            <a:ext cx="525089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45654" y="928708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аленькая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4" name="Rectangle 13"/>
          <p:cNvSpPr/>
          <p:nvPr/>
        </p:nvSpPr>
        <p:spPr>
          <a:xfrm rot="1301661">
            <a:off x="6629148" y="1566927"/>
            <a:ext cx="525089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74938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41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Уверенность в предсказан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4275" name="Picture 3" descr="/Users/zian/Library/Group Containers/UBF8T346G9.Office/msoclip1/01/FEC60B71-5E60-2C48-9163-32525284CB6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17" y="1208411"/>
            <a:ext cx="82296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rot="1301661">
            <a:off x="5008393" y="990441"/>
            <a:ext cx="977196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8" name="Rectangle 7"/>
          <p:cNvSpPr/>
          <p:nvPr/>
        </p:nvSpPr>
        <p:spPr>
          <a:xfrm rot="1301661">
            <a:off x="7184878" y="1815967"/>
            <a:ext cx="931847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88151" y="807128"/>
            <a:ext cx="13308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Большая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15555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B3A57BD6-71FE-407A-A1B7-9E4112267E3D}" type="slidenum">
              <a:rPr lang="ru-RU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42</a:t>
            </a:fld>
            <a:endParaRPr lang="ru-RU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ые модели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04283" y="1220755"/>
            <a:ext cx="1106432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Линейная модель </a:t>
            </a:r>
            <a:r>
              <a:rPr lang="ru-RU" sz="2400" kern="0" dirty="0">
                <a:latin typeface="Calibri"/>
                <a:cs typeface="Calibri"/>
                <a:sym typeface="Calibri"/>
              </a:rPr>
              <a:t>в общем виде суммирует значения всех признаков с некоторыми весами</a:t>
            </a:r>
          </a:p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Веса при признаках </a:t>
            </a:r>
            <a:r>
              <a:rPr lang="ru-RU" sz="2400" kern="0" dirty="0">
                <a:latin typeface="Calibri"/>
                <a:cs typeface="Calibri"/>
                <a:sym typeface="Calibri"/>
              </a:rPr>
              <a:t>— параметры, которые необходимо настраивать в процессе обучения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ru-RU" sz="2400" kern="0" dirty="0">
              <a:latin typeface="Calibri"/>
              <a:cs typeface="Calibri"/>
              <a:sym typeface="Calibri"/>
            </a:endParaRPr>
          </a:p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Плюсы: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Линейные модели способны обучаться на сверхбольших выборках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Могут работать на данных с большим количеством признаков (например, на текстах)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Хорошо интерпретируются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ru-RU" sz="2400" kern="0" dirty="0">
              <a:latin typeface="Calibri"/>
              <a:cs typeface="Calibri"/>
              <a:sym typeface="Calibri"/>
            </a:endParaRPr>
          </a:p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Минусы:</a:t>
            </a:r>
            <a:endParaRPr lang="en-US" sz="2400" b="1" kern="0" dirty="0">
              <a:latin typeface="Calibri"/>
              <a:cs typeface="Calibri"/>
              <a:sym typeface="Calibri"/>
            </a:endParaRP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Могут восстанавливать лишь линейные закономерности</a:t>
            </a:r>
            <a:endParaRPr lang="en-US" sz="2400" kern="0" dirty="0">
              <a:latin typeface="Calibri"/>
              <a:cs typeface="Calibri"/>
              <a:sym typeface="Calibri"/>
            </a:endParaRPr>
          </a:p>
          <a:p>
            <a:pPr marL="380990" indent="-380990" defTabSz="914377" hangingPunct="0">
              <a:buFont typeface="Arial" charset="0"/>
              <a:buChar char="•"/>
            </a:pP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0521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b="1" dirty="0">
                <a:latin typeface="Calibri" charset="0"/>
                <a:ea typeface="Calibri" charset="0"/>
                <a:cs typeface="Calibri" charset="0"/>
              </a:rPr>
              <a:t>Объект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 —</a:t>
            </a:r>
            <a:r>
              <a:rPr lang="ru-RU" i="1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для чего хотим делать предсказания</a:t>
            </a:r>
          </a:p>
          <a:p>
            <a:pPr lvl="1"/>
            <a:r>
              <a:rPr lang="ru-RU" dirty="0">
                <a:latin typeface="Calibri" charset="0"/>
                <a:ea typeface="Calibri" charset="0"/>
                <a:cs typeface="Calibri" charset="0"/>
              </a:rPr>
              <a:t>Конкретная квартира</a:t>
            </a:r>
          </a:p>
          <a:p>
            <a:r>
              <a:rPr lang="ru-RU" dirty="0">
                <a:latin typeface="Calibri" charset="0"/>
                <a:ea typeface="Calibri" charset="0"/>
                <a:cs typeface="Calibri" charset="0"/>
              </a:rPr>
              <a:t>Ответ, </a:t>
            </a:r>
            <a:r>
              <a:rPr lang="ru-RU" b="1" dirty="0">
                <a:latin typeface="Calibri" charset="0"/>
                <a:ea typeface="Calibri" charset="0"/>
                <a:cs typeface="Calibri" charset="0"/>
              </a:rPr>
              <a:t>целевая переменная</a:t>
            </a:r>
            <a:r>
              <a:rPr lang="en-US" dirty="0">
                <a:latin typeface="Calibri" charset="0"/>
                <a:ea typeface="Calibri" charset="0"/>
                <a:cs typeface="Calibri" charset="0"/>
              </a:rPr>
              <a:t> — 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что предсказываем</a:t>
            </a:r>
          </a:p>
          <a:p>
            <a:pPr lvl="1"/>
            <a:r>
              <a:rPr lang="ru-RU" dirty="0">
                <a:latin typeface="Calibri" charset="0"/>
                <a:ea typeface="Calibri" charset="0"/>
                <a:cs typeface="Calibri" charset="0"/>
              </a:rPr>
              <a:t>Стоимость квартиры</a:t>
            </a:r>
            <a:endParaRPr lang="en-US" dirty="0">
              <a:latin typeface="Calibri" charset="0"/>
              <a:ea typeface="Calibri" charset="0"/>
              <a:cs typeface="Calibri" charset="0"/>
            </a:endParaRPr>
          </a:p>
          <a:p>
            <a:pPr lvl="1"/>
            <a:endParaRPr lang="en-US" dirty="0">
              <a:latin typeface="Calibri" charset="0"/>
              <a:ea typeface="Calibri" charset="0"/>
              <a:cs typeface="Calibri" charset="0"/>
            </a:endParaRPr>
          </a:p>
          <a:p>
            <a:endParaRPr lang="ru-RU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6023446" y="8705816"/>
            <a:ext cx="196527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означения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D99F1D8-ECE3-C04C-A6C1-B0E04F1EB8C3}"/>
              </a:ext>
            </a:extLst>
          </p:cNvPr>
          <p:cNvSpPr/>
          <p:nvPr/>
        </p:nvSpPr>
        <p:spPr>
          <a:xfrm>
            <a:off x="1502979" y="407801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</a:t>
            </a:r>
            <a:endParaRPr lang="en-RU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E167B25-1AD6-0643-963C-14E4B27EE4FB}"/>
              </a:ext>
            </a:extLst>
          </p:cNvPr>
          <p:cNvSpPr/>
          <p:nvPr/>
        </p:nvSpPr>
        <p:spPr>
          <a:xfrm>
            <a:off x="6637283" y="407801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</a:t>
            </a:r>
            <a:endParaRPr lang="en-RU" sz="3200" dirty="0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0CBE7239-80E4-7141-A0B9-EDF626741737}"/>
              </a:ext>
            </a:extLst>
          </p:cNvPr>
          <p:cNvSpPr/>
          <p:nvPr/>
        </p:nvSpPr>
        <p:spPr>
          <a:xfrm>
            <a:off x="4798390" y="4419599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342629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b="1" dirty="0">
                <a:latin typeface="Calibri" charset="0"/>
                <a:ea typeface="Calibri" charset="0"/>
                <a:cs typeface="Calibri" charset="0"/>
              </a:rPr>
              <a:t>Обучающая выборка</a:t>
            </a:r>
            <a:r>
              <a:rPr lang="en-US" dirty="0">
                <a:latin typeface="Calibri" charset="0"/>
                <a:ea typeface="Calibri" charset="0"/>
                <a:cs typeface="Calibri" charset="0"/>
              </a:rPr>
              <a:t> —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 набор объектов, для которых известны правильные ответы</a:t>
            </a:r>
            <a:endParaRPr lang="en-US" dirty="0">
              <a:latin typeface="Calibri" charset="0"/>
              <a:ea typeface="Calibri" charset="0"/>
              <a:cs typeface="Calibri" charset="0"/>
            </a:endParaRPr>
          </a:p>
          <a:p>
            <a:pPr lvl="1"/>
            <a:r>
              <a:rPr lang="ru-RU" dirty="0">
                <a:latin typeface="Calibri" charset="0"/>
                <a:ea typeface="Calibri" charset="0"/>
                <a:cs typeface="Calibri" charset="0"/>
              </a:rPr>
              <a:t>Квартиры, для которых известна </a:t>
            </a:r>
            <a:r>
              <a:rPr lang="ru-RU" dirty="0"/>
              <a:t>рыночная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 стоимость</a:t>
            </a:r>
          </a:p>
          <a:p>
            <a:endParaRPr lang="ru-RU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6023446" y="8705816"/>
            <a:ext cx="196527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означения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6FA37CFE-FD2F-E045-B52A-B6CED28B7476}"/>
              </a:ext>
            </a:extLst>
          </p:cNvPr>
          <p:cNvSpPr/>
          <p:nvPr/>
        </p:nvSpPr>
        <p:spPr>
          <a:xfrm>
            <a:off x="1744716" y="2919248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 1</a:t>
            </a:r>
            <a:endParaRPr lang="en-RU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FA29F6C-7382-6C40-ABC4-3F78571F3967}"/>
              </a:ext>
            </a:extLst>
          </p:cNvPr>
          <p:cNvSpPr/>
          <p:nvPr/>
        </p:nvSpPr>
        <p:spPr>
          <a:xfrm>
            <a:off x="6879020" y="2919248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 1</a:t>
            </a:r>
            <a:endParaRPr lang="en-RU" sz="3200" dirty="0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B9FEC2E5-D04E-514D-95BE-4E7BEFD747CC}"/>
              </a:ext>
            </a:extLst>
          </p:cNvPr>
          <p:cNvSpPr/>
          <p:nvPr/>
        </p:nvSpPr>
        <p:spPr>
          <a:xfrm>
            <a:off x="5040127" y="3260833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421B5AF-E584-E045-8AB9-8B38ADAAE5B5}"/>
              </a:ext>
            </a:extLst>
          </p:cNvPr>
          <p:cNvSpPr/>
          <p:nvPr/>
        </p:nvSpPr>
        <p:spPr>
          <a:xfrm>
            <a:off x="1744716" y="513788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 </a:t>
            </a:r>
            <a:r>
              <a:rPr lang="en-US" sz="3200" dirty="0"/>
              <a:t>N</a:t>
            </a:r>
            <a:endParaRPr lang="en-RU" sz="3200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95C3553-76B3-6A4B-9829-BAD6A0FCBE44}"/>
              </a:ext>
            </a:extLst>
          </p:cNvPr>
          <p:cNvSpPr/>
          <p:nvPr/>
        </p:nvSpPr>
        <p:spPr>
          <a:xfrm>
            <a:off x="6879020" y="513788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 </a:t>
            </a:r>
            <a:r>
              <a:rPr lang="en-US" sz="3200" dirty="0"/>
              <a:t>N</a:t>
            </a:r>
            <a:endParaRPr lang="en-RU" sz="3200" dirty="0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24255DC9-110F-B44D-9636-92F65E5D24FE}"/>
              </a:ext>
            </a:extLst>
          </p:cNvPr>
          <p:cNvSpPr/>
          <p:nvPr/>
        </p:nvSpPr>
        <p:spPr>
          <a:xfrm>
            <a:off x="5040127" y="5479469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4BAFA3-FEE0-D046-B692-11B0045D16A3}"/>
              </a:ext>
            </a:extLst>
          </p:cNvPr>
          <p:cNvSpPr txBox="1"/>
          <p:nvPr/>
        </p:nvSpPr>
        <p:spPr>
          <a:xfrm>
            <a:off x="5562256" y="4245929"/>
            <a:ext cx="4683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sz="32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39568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800" dirty="0"/>
              <a:t>Объекты — абстрактные сущности, но компьютеры работают только с числами</a:t>
            </a:r>
          </a:p>
          <a:p>
            <a:r>
              <a:rPr lang="ru-RU" sz="2800" b="1" dirty="0"/>
              <a:t>Признаки</a:t>
            </a:r>
            <a:r>
              <a:rPr lang="ru-RU" sz="2800" dirty="0"/>
              <a:t>, факторы</a:t>
            </a:r>
            <a:r>
              <a:rPr lang="en-US" sz="2800" dirty="0"/>
              <a:t> — </a:t>
            </a:r>
            <a:r>
              <a:rPr lang="ru-RU" sz="2800" dirty="0"/>
              <a:t>числовые характеристики объектов</a:t>
            </a:r>
          </a:p>
          <a:p>
            <a:endParaRPr lang="ru-RU" sz="2800" dirty="0"/>
          </a:p>
          <a:p>
            <a:r>
              <a:rPr lang="ru-RU" sz="2800" b="1" dirty="0"/>
              <a:t>Специалист по анализу данных</a:t>
            </a:r>
            <a:r>
              <a:rPr lang="ru-RU" sz="2800" dirty="0"/>
              <a:t> </a:t>
            </a:r>
            <a:r>
              <a:rPr lang="en-US" sz="2800" dirty="0"/>
              <a:t>— </a:t>
            </a:r>
            <a:r>
              <a:rPr lang="ru-RU" sz="2800" dirty="0"/>
              <a:t>не эксперт в предметной области</a:t>
            </a:r>
          </a:p>
          <a:p>
            <a:r>
              <a:rPr lang="ru-RU" sz="2800" b="1" dirty="0"/>
              <a:t>Эксперты</a:t>
            </a:r>
            <a:r>
              <a:rPr lang="ru-RU" sz="2800" dirty="0"/>
              <a:t> нужны при формировании признаков</a:t>
            </a:r>
          </a:p>
          <a:p>
            <a:endParaRPr lang="ru-RU" sz="2800" dirty="0"/>
          </a:p>
          <a:p>
            <a:endParaRPr lang="en-US" sz="2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знаки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C01F1B74-2348-764E-B1CD-326E7C6F5724}"/>
              </a:ext>
            </a:extLst>
          </p:cNvPr>
          <p:cNvSpPr/>
          <p:nvPr/>
        </p:nvSpPr>
        <p:spPr>
          <a:xfrm>
            <a:off x="1786758" y="4340773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</a:t>
            </a:r>
            <a:endParaRPr lang="en-RU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389C040-EE72-9B40-84C7-418B592B56BA}"/>
              </a:ext>
            </a:extLst>
          </p:cNvPr>
          <p:cNvSpPr/>
          <p:nvPr/>
        </p:nvSpPr>
        <p:spPr>
          <a:xfrm>
            <a:off x="6921062" y="4340773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</a:t>
            </a:r>
            <a:endParaRPr lang="en-RU" sz="3200" dirty="0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FB497080-F5A0-2042-8B09-11B64DBC3C3B}"/>
              </a:ext>
            </a:extLst>
          </p:cNvPr>
          <p:cNvSpPr/>
          <p:nvPr/>
        </p:nvSpPr>
        <p:spPr>
          <a:xfrm rot="19936019">
            <a:off x="5058519" y="5692918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55D99BF-C58C-9C45-84B0-8970B7D1AF2F}"/>
              </a:ext>
            </a:extLst>
          </p:cNvPr>
          <p:cNvSpPr/>
          <p:nvPr/>
        </p:nvSpPr>
        <p:spPr>
          <a:xfrm>
            <a:off x="1786758" y="570650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Признаки</a:t>
            </a:r>
            <a:endParaRPr lang="en-RU" sz="3200" dirty="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D75E6A13-DEC5-EE44-B115-377B697B4B7D}"/>
              </a:ext>
            </a:extLst>
          </p:cNvPr>
          <p:cNvSpPr/>
          <p:nvPr/>
        </p:nvSpPr>
        <p:spPr>
          <a:xfrm rot="5400000">
            <a:off x="3108263" y="5398906"/>
            <a:ext cx="278865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07110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SzTx/>
              <a:buNone/>
              <a:defRPr b="1"/>
            </a:pPr>
            <a:r>
              <a:rPr lang="ru-RU" dirty="0"/>
              <a:t>Для задачи про квартиры</a:t>
            </a:r>
            <a:r>
              <a:rPr dirty="0"/>
              <a:t>:</a:t>
            </a:r>
          </a:p>
          <a:p>
            <a:r>
              <a:rPr lang="ru-RU" dirty="0"/>
              <a:t>Свойства квартиры и дома</a:t>
            </a:r>
            <a:r>
              <a:rPr dirty="0"/>
              <a:t>:</a:t>
            </a:r>
            <a:endParaRPr lang="ru-RU" dirty="0"/>
          </a:p>
          <a:p>
            <a:pPr lvl="1"/>
            <a:r>
              <a:rPr lang="ru-RU" dirty="0"/>
              <a:t>Площадь, количество комнат, наличие балкона, жилая площадь</a:t>
            </a:r>
          </a:p>
          <a:p>
            <a:pPr lvl="1"/>
            <a:r>
              <a:rPr lang="ru-RU" dirty="0"/>
              <a:t>Год постройки дома, тип дома, наличие лифта</a:t>
            </a:r>
            <a:endParaRPr dirty="0"/>
          </a:p>
          <a:p>
            <a:r>
              <a:rPr lang="ru-RU" dirty="0"/>
              <a:t>Свойства расположения</a:t>
            </a:r>
            <a:r>
              <a:rPr dirty="0"/>
              <a:t>:</a:t>
            </a:r>
            <a:endParaRPr lang="ru-RU" dirty="0"/>
          </a:p>
          <a:p>
            <a:pPr lvl="1"/>
            <a:r>
              <a:rPr lang="ru-RU" dirty="0"/>
              <a:t>Расстояние до метро, до ближайшего супермаркета, до ближайшего парка, до ближайшей школы, наличие парковок рядом с домом</a:t>
            </a:r>
          </a:p>
          <a:p>
            <a:endParaRPr dirty="0"/>
          </a:p>
        </p:txBody>
      </p:sp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70"/>
            <a:r>
              <a:rPr sz="3400" dirty="0" err="1"/>
              <a:t>Признаки</a:t>
            </a:r>
            <a:endParaRPr sz="3400" dirty="0"/>
          </a:p>
        </p:txBody>
      </p:sp>
    </p:spTree>
    <p:extLst>
      <p:ext uri="{BB962C8B-B14F-4D97-AF65-F5344CB8AC3E}">
        <p14:creationId xmlns:p14="http://schemas.microsoft.com/office/powerpoint/2010/main" val="1858677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Придумать и собрать качественные признаки — большая задача</a:t>
            </a:r>
          </a:p>
          <a:p>
            <a:r>
              <a:rPr lang="ru-RU" dirty="0"/>
              <a:t>Качество признаков напрямую влияет на качество решения</a:t>
            </a:r>
            <a:endParaRPr dirty="0"/>
          </a:p>
        </p:txBody>
      </p:sp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70"/>
            <a:r>
              <a:rPr sz="3400" dirty="0" err="1"/>
              <a:t>Признаки</a:t>
            </a:r>
            <a:endParaRPr sz="3400" dirty="0"/>
          </a:p>
        </p:txBody>
      </p:sp>
    </p:spTree>
    <p:extLst>
      <p:ext uri="{BB962C8B-B14F-4D97-AF65-F5344CB8AC3E}">
        <p14:creationId xmlns:p14="http://schemas.microsoft.com/office/powerpoint/2010/main" val="2087341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76</TotalTime>
  <Words>1197</Words>
  <Application>Microsoft Office PowerPoint</Application>
  <PresentationFormat>Широкоэкранный</PresentationFormat>
  <Paragraphs>415</Paragraphs>
  <Slides>4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61" baseType="lpstr">
      <vt:lpstr>Arial</vt:lpstr>
      <vt:lpstr>Calibri</vt:lpstr>
      <vt:lpstr>Calibri Light</vt:lpstr>
      <vt:lpstr>Cambria Math</vt:lpstr>
      <vt:lpstr>Courier New</vt:lpstr>
      <vt:lpstr>Helvetica</vt:lpstr>
      <vt:lpstr>SB Sans Display Light</vt:lpstr>
      <vt:lpstr>SB Sans Display Regular</vt:lpstr>
      <vt:lpstr>Wingdings</vt:lpstr>
      <vt:lpstr>Custom Design</vt:lpstr>
      <vt:lpstr>1_Custom Design</vt:lpstr>
      <vt:lpstr>2_Custom Design</vt:lpstr>
      <vt:lpstr>3_Custom Design</vt:lpstr>
      <vt:lpstr>4_Custom Design</vt:lpstr>
      <vt:lpstr>6_Custom Design</vt:lpstr>
      <vt:lpstr>2_Тема Office</vt:lpstr>
      <vt:lpstr>3_Тема Office</vt:lpstr>
      <vt:lpstr>1_Тема Office</vt:lpstr>
      <vt:lpstr>think-cell Slide</vt:lpstr>
      <vt:lpstr>Презентация PowerPoint</vt:lpstr>
      <vt:lpstr>Нормальное распределение</vt:lpstr>
      <vt:lpstr>Нормальное распределение</vt:lpstr>
      <vt:lpstr>Пример задачи</vt:lpstr>
      <vt:lpstr>Обозначения</vt:lpstr>
      <vt:lpstr>Обозначения</vt:lpstr>
      <vt:lpstr>Признаки</vt:lpstr>
      <vt:lpstr>Признаки</vt:lpstr>
      <vt:lpstr>Признаки</vt:lpstr>
      <vt:lpstr>Объект как строчка в таблице</vt:lpstr>
      <vt:lpstr>Алгоритм</vt:lpstr>
      <vt:lpstr>Алгоритм</vt:lpstr>
      <vt:lpstr>Алгоритм</vt:lpstr>
      <vt:lpstr>Алгоритм</vt:lpstr>
      <vt:lpstr>Функция потерь</vt:lpstr>
      <vt:lpstr>Функция потерь</vt:lpstr>
      <vt:lpstr>Обучение алгоритма</vt:lpstr>
      <vt:lpstr>Целевая переменная</vt:lpstr>
      <vt:lpstr>Как понять какие параметры оптимальные?</vt:lpstr>
      <vt:lpstr>Как происходит обучение</vt:lpstr>
      <vt:lpstr>Схема работы машинного обучения</vt:lpstr>
      <vt:lpstr>Обучение алгоритма</vt:lpstr>
      <vt:lpstr>Обучение алгоритма</vt:lpstr>
      <vt:lpstr>Обучение алгоритма</vt:lpstr>
      <vt:lpstr>Обучение алгоритма</vt:lpstr>
      <vt:lpstr>Обучение алгоритма</vt:lpstr>
      <vt:lpstr>Регрессия</vt:lpstr>
      <vt:lpstr>Линейная модель для регрессии</vt:lpstr>
      <vt:lpstr>Линейная модель для регрессии</vt:lpstr>
      <vt:lpstr>Линейная модель для регрессии</vt:lpstr>
      <vt:lpstr>Функционал ошибки</vt:lpstr>
      <vt:lpstr>Функционал ошибки</vt:lpstr>
      <vt:lpstr>Функционал ошибки</vt:lpstr>
      <vt:lpstr>Функционал ошибки</vt:lpstr>
      <vt:lpstr>Величина шага γ</vt:lpstr>
      <vt:lpstr>Величина шага γ</vt:lpstr>
      <vt:lpstr>Демо: линейная регрессия</vt:lpstr>
      <vt:lpstr>Линейная модель для классификации</vt:lpstr>
      <vt:lpstr>Линейная модель для классификации</vt:lpstr>
      <vt:lpstr>Уверенность в предсказании</vt:lpstr>
      <vt:lpstr>Уверенность в предсказании</vt:lpstr>
      <vt:lpstr>Линейные модели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ведение в анализ данных</dc:title>
  <dc:creator>Evgeny Sokolov</dc:creator>
  <cp:lastModifiedBy>Паршаков Петр Андреевич</cp:lastModifiedBy>
  <cp:revision>327</cp:revision>
  <cp:lastPrinted>2016-01-18T22:45:54Z</cp:lastPrinted>
  <dcterms:created xsi:type="dcterms:W3CDTF">2016-01-10T22:08:56Z</dcterms:created>
  <dcterms:modified xsi:type="dcterms:W3CDTF">2025-10-07T18:42:06Z</dcterms:modified>
</cp:coreProperties>
</file>